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2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3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4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6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7.xml" ContentType="application/vnd.openxmlformats-officedocument.theme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8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9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20.xml" ContentType="application/vnd.openxmlformats-officedocument.theme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21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22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3.xml" ContentType="application/vnd.openxmlformats-officedocument.theme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4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25.xml" ContentType="application/vnd.openxmlformats-officedocument.theme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26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27.xml" ContentType="application/vnd.openxmlformats-officedocument.theme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28.xml" ContentType="application/vnd.openxmlformats-officedocument.theme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29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0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31.xml" ContentType="application/vnd.openxmlformats-officedocument.theme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32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33.xml" ContentType="application/vnd.openxmlformats-officedocument.theme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34.xml" ContentType="application/vnd.openxmlformats-officedocument.theme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35.xml" ContentType="application/vnd.openxmlformats-officedocument.theme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36.xml" ContentType="application/vnd.openxmlformats-officedocument.theme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37.xml" ContentType="application/vnd.openxmlformats-officedocument.theme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heme/theme38.xml" ContentType="application/vnd.openxmlformats-officedocument.theme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39.xml" ContentType="application/vnd.openxmlformats-officedocument.theme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heme/theme40.xml" ContentType="application/vnd.openxmlformats-officedocument.theme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theme/theme41.xml" ContentType="application/vnd.openxmlformats-officedocument.theme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42.xml" ContentType="application/vnd.openxmlformats-officedocument.theme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theme/theme43.xml" ContentType="application/vnd.openxmlformats-officedocument.theme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theme/theme44.xml" ContentType="application/vnd.openxmlformats-officedocument.theme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theme/theme45.xml" ContentType="application/vnd.openxmlformats-officedocument.theme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theme/theme46.xml" ContentType="application/vnd.openxmlformats-officedocument.theme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heme/theme47.xml" ContentType="application/vnd.openxmlformats-officedocument.theme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48.xml" ContentType="application/vnd.openxmlformats-officedocument.theme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theme/theme49.xml" ContentType="application/vnd.openxmlformats-officedocument.theme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theme/theme50.xml" ContentType="application/vnd.openxmlformats-officedocument.theme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theme/theme51.xml" ContentType="application/vnd.openxmlformats-officedocument.theme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theme/theme52.xml" ContentType="application/vnd.openxmlformats-officedocument.theme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theme/theme53.xml" ContentType="application/vnd.openxmlformats-officedocument.theme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theme/theme54.xml" ContentType="application/vnd.openxmlformats-officedocument.theme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heme/theme55.xml" ContentType="application/vnd.openxmlformats-officedocument.theme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theme/theme56.xml" ContentType="application/vnd.openxmlformats-officedocument.theme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theme/theme57.xml" ContentType="application/vnd.openxmlformats-officedocument.theme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theme/theme58.xml" ContentType="application/vnd.openxmlformats-officedocument.theme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theme/theme59.xml" ContentType="application/vnd.openxmlformats-officedocument.theme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theme/theme60.xml" ContentType="application/vnd.openxmlformats-officedocument.theme+xml"/>
  <Override PartName="/ppt/theme/theme61.xml" ContentType="application/vnd.openxmlformats-officedocument.theme+xml"/>
  <Override PartName="/ppt/theme/theme6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4142" r:id="rId2"/>
    <p:sldMasterId id="2147484154" r:id="rId3"/>
    <p:sldMasterId id="2147484166" r:id="rId4"/>
    <p:sldMasterId id="2147484177" r:id="rId5"/>
    <p:sldMasterId id="2147484185" r:id="rId6"/>
    <p:sldMasterId id="2147484194" r:id="rId7"/>
    <p:sldMasterId id="2147484203" r:id="rId8"/>
    <p:sldMasterId id="2147484214" r:id="rId9"/>
    <p:sldMasterId id="2147484224" r:id="rId10"/>
    <p:sldMasterId id="2147484238" r:id="rId11"/>
    <p:sldMasterId id="2147484251" r:id="rId12"/>
    <p:sldMasterId id="2147484265" r:id="rId13"/>
    <p:sldMasterId id="2147484273" r:id="rId14"/>
    <p:sldMasterId id="2147484286" r:id="rId15"/>
    <p:sldMasterId id="2147484295" r:id="rId16"/>
    <p:sldMasterId id="2147484304" r:id="rId17"/>
    <p:sldMasterId id="2147484312" r:id="rId18"/>
    <p:sldMasterId id="2147484327" r:id="rId19"/>
    <p:sldMasterId id="2147484345" r:id="rId20"/>
    <p:sldMasterId id="2147484356" r:id="rId21"/>
    <p:sldMasterId id="2147484364" r:id="rId22"/>
    <p:sldMasterId id="2147484375" r:id="rId23"/>
    <p:sldMasterId id="2147484383" r:id="rId24"/>
    <p:sldMasterId id="2147484394" r:id="rId25"/>
    <p:sldMasterId id="2147484406" r:id="rId26"/>
    <p:sldMasterId id="2147484419" r:id="rId27"/>
    <p:sldMasterId id="2147484432" r:id="rId28"/>
    <p:sldMasterId id="2147484445" r:id="rId29"/>
    <p:sldMasterId id="2147484458" r:id="rId30"/>
    <p:sldMasterId id="2147484471" r:id="rId31"/>
    <p:sldMasterId id="2147484484" r:id="rId32"/>
    <p:sldMasterId id="2147484497" r:id="rId33"/>
    <p:sldMasterId id="2147484510" r:id="rId34"/>
    <p:sldMasterId id="2147484523" r:id="rId35"/>
    <p:sldMasterId id="2147484536" r:id="rId36"/>
    <p:sldMasterId id="2147484549" r:id="rId37"/>
    <p:sldMasterId id="2147484562" r:id="rId38"/>
    <p:sldMasterId id="2147484573" r:id="rId39"/>
    <p:sldMasterId id="2147484583" r:id="rId40"/>
    <p:sldMasterId id="2147484596" r:id="rId41"/>
    <p:sldMasterId id="2147484613" r:id="rId42"/>
    <p:sldMasterId id="2147484621" r:id="rId43"/>
    <p:sldMasterId id="2147484637" r:id="rId44"/>
    <p:sldMasterId id="2147484653" r:id="rId45"/>
    <p:sldMasterId id="2147485566" r:id="rId46"/>
    <p:sldMasterId id="2147485582" r:id="rId47"/>
    <p:sldMasterId id="2147485597" r:id="rId48"/>
    <p:sldMasterId id="2147485606" r:id="rId49"/>
    <p:sldMasterId id="2147485617" r:id="rId50"/>
    <p:sldMasterId id="2147485627" r:id="rId51"/>
    <p:sldMasterId id="2147485639" r:id="rId52"/>
    <p:sldMasterId id="2147485651" r:id="rId53"/>
    <p:sldMasterId id="2147486668" r:id="rId54"/>
    <p:sldMasterId id="2147486683" r:id="rId55"/>
    <p:sldMasterId id="2147486700" r:id="rId56"/>
    <p:sldMasterId id="2147486709" r:id="rId57"/>
    <p:sldMasterId id="2147486737" r:id="rId58"/>
    <p:sldMasterId id="2147486745" r:id="rId59"/>
    <p:sldMasterId id="2147486757" r:id="rId60"/>
  </p:sldMasterIdLst>
  <p:notesMasterIdLst>
    <p:notesMasterId r:id="rId78"/>
  </p:notesMasterIdLst>
  <p:handoutMasterIdLst>
    <p:handoutMasterId r:id="rId79"/>
  </p:handoutMasterIdLst>
  <p:sldIdLst>
    <p:sldId id="930" r:id="rId61"/>
    <p:sldId id="1444" r:id="rId62"/>
    <p:sldId id="1426" r:id="rId63"/>
    <p:sldId id="1427" r:id="rId64"/>
    <p:sldId id="1408" r:id="rId65"/>
    <p:sldId id="1466" r:id="rId66"/>
    <p:sldId id="1374" r:id="rId67"/>
    <p:sldId id="1467" r:id="rId68"/>
    <p:sldId id="1424" r:id="rId69"/>
    <p:sldId id="1381" r:id="rId70"/>
    <p:sldId id="1423" r:id="rId71"/>
    <p:sldId id="1529" r:id="rId72"/>
    <p:sldId id="1425" r:id="rId73"/>
    <p:sldId id="1451" r:id="rId74"/>
    <p:sldId id="1480" r:id="rId75"/>
    <p:sldId id="1507" r:id="rId76"/>
    <p:sldId id="1523" r:id="rId77"/>
  </p:sldIdLst>
  <p:sldSz cx="9144000" cy="5715000" type="screen16x10"/>
  <p:notesSz cx="9926638" cy="6797675"/>
  <p:defaultTextStyle>
    <a:defPPr>
      <a:defRPr lang="nb-NO"/>
    </a:defPPr>
    <a:lvl1pPr algn="l" defTabSz="847725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23863" indent="33338" algn="l" defTabSz="847725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847725" indent="66675" algn="l" defTabSz="847725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273175" indent="98425" algn="l" defTabSz="847725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697038" indent="131763" algn="l" defTabSz="847725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5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9" hiddenSlides="1" frameSlides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1EA0"/>
    <a:srgbClr val="1A146A"/>
    <a:srgbClr val="AC0000"/>
    <a:srgbClr val="CC0000"/>
    <a:srgbClr val="CC3300"/>
    <a:srgbClr val="FF3300"/>
    <a:srgbClr val="600413"/>
    <a:srgbClr val="55555A"/>
    <a:srgbClr val="D7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13" autoAdjust="0"/>
    <p:restoredTop sz="68435" autoAdjust="0"/>
  </p:normalViewPr>
  <p:slideViewPr>
    <p:cSldViewPr snapToObjects="1">
      <p:cViewPr varScale="1">
        <p:scale>
          <a:sx n="102" d="100"/>
          <a:sy n="102" d="100"/>
        </p:scale>
        <p:origin x="2560" y="184"/>
      </p:cViewPr>
      <p:guideLst>
        <p:guide orient="horz" pos="1800"/>
        <p:guide pos="2855"/>
      </p:guideLst>
    </p:cSldViewPr>
  </p:slideViewPr>
  <p:outlineViewPr>
    <p:cViewPr>
      <p:scale>
        <a:sx n="33" d="100"/>
        <a:sy n="33" d="100"/>
      </p:scale>
      <p:origin x="0" y="-85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3" d="100"/>
        <a:sy n="63" d="100"/>
      </p:scale>
      <p:origin x="0" y="0"/>
    </p:cViewPr>
  </p:sorterViewPr>
  <p:notesViewPr>
    <p:cSldViewPr snapToObjects="1">
      <p:cViewPr varScale="1">
        <p:scale>
          <a:sx n="111" d="100"/>
          <a:sy n="111" d="100"/>
        </p:scale>
        <p:origin x="-4904" y="-120"/>
      </p:cViewPr>
      <p:guideLst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" Target="slides/slide3.xml"/><Relationship Id="rId68" Type="http://schemas.openxmlformats.org/officeDocument/2006/relationships/slide" Target="slides/slide8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74" Type="http://schemas.openxmlformats.org/officeDocument/2006/relationships/slide" Target="slides/slide14.xml"/><Relationship Id="rId79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1.xml"/><Relationship Id="rId82" Type="http://schemas.openxmlformats.org/officeDocument/2006/relationships/theme" Target="theme/theme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slide" Target="slides/slide4.xml"/><Relationship Id="rId69" Type="http://schemas.openxmlformats.org/officeDocument/2006/relationships/slide" Target="slides/slide9.xml"/><Relationship Id="rId77" Type="http://schemas.openxmlformats.org/officeDocument/2006/relationships/slide" Target="slides/slide17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12.xml"/><Relationship Id="rId80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Master" Target="slideMasters/slideMaster59.xml"/><Relationship Id="rId67" Type="http://schemas.openxmlformats.org/officeDocument/2006/relationships/slide" Target="slides/slide7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" Target="slides/slide2.xml"/><Relationship Id="rId70" Type="http://schemas.openxmlformats.org/officeDocument/2006/relationships/slide" Target="slides/slide10.xml"/><Relationship Id="rId75" Type="http://schemas.openxmlformats.org/officeDocument/2006/relationships/slide" Target="slides/slide15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Master" Target="slideMasters/slideMaster60.xml"/><Relationship Id="rId65" Type="http://schemas.openxmlformats.org/officeDocument/2006/relationships/slide" Target="slides/slide5.xml"/><Relationship Id="rId73" Type="http://schemas.openxmlformats.org/officeDocument/2006/relationships/slide" Target="slides/slide13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" Target="slides/slide16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nb-NO" sz="1100" b="1" dirty="0">
                <a:solidFill>
                  <a:schemeClr val="bg1"/>
                </a:solidFill>
              </a:rPr>
              <a:t>Søknader om avdragsfrihet på boliglån</a:t>
            </a:r>
          </a:p>
        </c:rich>
      </c:tx>
      <c:layout>
        <c:manualLayout>
          <c:xMode val="edge"/>
          <c:yMode val="edge"/>
          <c:x val="0.11423015172103942"/>
          <c:y val="4.16987001444283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N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63500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63500" cap="rnd">
                <a:solidFill>
                  <a:schemeClr val="bg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AEF-4988-BA63-F1C08A4E95DA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63500" cap="rnd">
                <a:solidFill>
                  <a:schemeClr val="bg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BAEF-4988-BA63-F1C08A4E95DA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63500" cap="rnd">
                <a:solidFill>
                  <a:schemeClr val="bg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BAEF-4988-BA63-F1C08A4E95DA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63500" cap="rnd">
                <a:solidFill>
                  <a:schemeClr val="bg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BAEF-4988-BA63-F1C08A4E95DA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63500" cap="rnd">
                <a:solidFill>
                  <a:schemeClr val="bg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BAEF-4988-BA63-F1C08A4E95DA}"/>
              </c:ext>
            </c:extLst>
          </c:dPt>
          <c:cat>
            <c:strRef>
              <c:f>'Ark1'!$A$2:$F$2</c:f>
              <c:strCache>
                <c:ptCount val="6"/>
                <c:pt idx="0">
                  <c:v>februar</c:v>
                </c:pt>
                <c:pt idx="1">
                  <c:v>mars </c:v>
                </c:pt>
                <c:pt idx="2">
                  <c:v>april </c:v>
                </c:pt>
                <c:pt idx="3">
                  <c:v>mai </c:v>
                </c:pt>
                <c:pt idx="4">
                  <c:v>juni </c:v>
                </c:pt>
                <c:pt idx="5">
                  <c:v>juli</c:v>
                </c:pt>
              </c:strCache>
            </c:strRef>
          </c:cat>
          <c:val>
            <c:numRef>
              <c:f>'Ark1'!$A$3:$F$3</c:f>
              <c:numCache>
                <c:formatCode>General</c:formatCode>
                <c:ptCount val="6"/>
                <c:pt idx="0">
                  <c:v>10</c:v>
                </c:pt>
                <c:pt idx="1">
                  <c:v>425</c:v>
                </c:pt>
                <c:pt idx="2">
                  <c:v>280</c:v>
                </c:pt>
                <c:pt idx="3">
                  <c:v>110</c:v>
                </c:pt>
                <c:pt idx="4">
                  <c:v>40</c:v>
                </c:pt>
                <c:pt idx="5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BAEF-4988-BA63-F1C08A4E95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4100552"/>
        <c:axId val="414109080"/>
      </c:lineChart>
      <c:catAx>
        <c:axId val="414100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NO"/>
          </a:p>
        </c:txPr>
        <c:crossAx val="414109080"/>
        <c:crosses val="autoZero"/>
        <c:auto val="1"/>
        <c:lblAlgn val="ctr"/>
        <c:lblOffset val="100"/>
        <c:noMultiLvlLbl val="0"/>
      </c:catAx>
      <c:valAx>
        <c:axId val="4141090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14100552"/>
        <c:crosses val="autoZero"/>
        <c:crossBetween val="between"/>
      </c:valAx>
      <c:spPr>
        <a:solidFill>
          <a:schemeClr val="accent2">
            <a:lumMod val="50000"/>
          </a:schemeClr>
        </a:solidFill>
        <a:ln>
          <a:solidFill>
            <a:schemeClr val="tx2"/>
          </a:solidFill>
        </a:ln>
        <a:effectLst/>
      </c:spPr>
    </c:plotArea>
    <c:plotVisOnly val="1"/>
    <c:dispBlanksAs val="gap"/>
    <c:showDLblsOverMax val="0"/>
  </c:chart>
  <c:spPr>
    <a:solidFill>
      <a:schemeClr val="accent2">
        <a:lumMod val="50000"/>
      </a:schemeClr>
    </a:solidFill>
    <a:ln w="9525" cap="flat" cmpd="sng" algn="ctr">
      <a:solidFill>
        <a:schemeClr val="tx2"/>
      </a:solidFill>
      <a:round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252686616310277E-2"/>
          <c:y val="3.2925114430218616E-2"/>
          <c:w val="0.8997712509603969"/>
          <c:h val="0.9670748855697812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gion Sør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008-4693-8671-5EFC03D4B42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08-4693-8671-5EFC03D4B42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008-4693-8671-5EFC03D4B42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008-4693-8671-5EFC03D4B426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008-4693-8671-5EFC03D4B426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008-4693-8671-5EFC03D4B426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008-4693-8671-5EFC03D4B426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008-4693-8671-5EFC03D4B426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008-4693-8671-5EFC03D4B426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008-4693-8671-5EFC03D4B426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008-4693-8671-5EFC03D4B426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008-4693-8671-5EFC03D4B426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008-4693-8671-5EFC03D4B426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008-4693-8671-5EFC03D4B426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008-4693-8671-5EFC03D4B426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008-4693-8671-5EFC03D4B426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008-4693-8671-5EFC03D4B426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008-4693-8671-5EFC03D4B426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70-43E0-8697-81C62851F423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87E-4600-8A49-3CC7C8400876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5E8-4A05-9183-E248FC7D0194}"/>
                </c:ext>
              </c:extLst>
            </c:dLbl>
            <c:dLbl>
              <c:idx val="5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008-4693-8671-5EFC03D4B426}"/>
                </c:ext>
              </c:extLst>
            </c:dLbl>
            <c:dLbl>
              <c:idx val="5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8008-4693-8671-5EFC03D4B426}"/>
                </c:ext>
              </c:extLst>
            </c:dLbl>
            <c:dLbl>
              <c:idx val="5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008-4693-8671-5EFC03D4B426}"/>
                </c:ext>
              </c:extLst>
            </c:dLbl>
            <c:dLbl>
              <c:idx val="5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8008-4693-8671-5EFC03D4B426}"/>
                </c:ext>
              </c:extLst>
            </c:dLbl>
            <c:dLbl>
              <c:idx val="5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008-4693-8671-5EFC03D4B426}"/>
                </c:ext>
              </c:extLst>
            </c:dLbl>
            <c:dLbl>
              <c:idx val="5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008-4693-8671-5EFC03D4B426}"/>
                </c:ext>
              </c:extLst>
            </c:dLbl>
            <c:dLbl>
              <c:idx val="6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008-4693-8671-5EFC03D4B426}"/>
                </c:ext>
              </c:extLst>
            </c:dLbl>
            <c:dLbl>
              <c:idx val="6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008-4693-8671-5EFC03D4B426}"/>
                </c:ext>
              </c:extLst>
            </c:dLbl>
            <c:dLbl>
              <c:idx val="6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8008-4693-8671-5EFC03D4B426}"/>
                </c:ext>
              </c:extLst>
            </c:dLbl>
            <c:dLbl>
              <c:idx val="6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8008-4693-8671-5EFC03D4B426}"/>
                </c:ext>
              </c:extLst>
            </c:dLbl>
            <c:dLbl>
              <c:idx val="6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8008-4693-8671-5EFC03D4B426}"/>
                </c:ext>
              </c:extLst>
            </c:dLbl>
            <c:dLbl>
              <c:idx val="6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8008-4693-8671-5EFC03D4B426}"/>
                </c:ext>
              </c:extLst>
            </c:dLbl>
            <c:dLbl>
              <c:idx val="6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8008-4693-8671-5EFC03D4B426}"/>
                </c:ext>
              </c:extLst>
            </c:dLbl>
            <c:dLbl>
              <c:idx val="6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8008-4693-8671-5EFC03D4B426}"/>
                </c:ext>
              </c:extLst>
            </c:dLbl>
            <c:dLbl>
              <c:idx val="6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8008-4693-8671-5EFC03D4B426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231464"/>
                </a:solidFill>
              </a:ln>
            </c:spPr>
            <c:txPr>
              <a:bodyPr/>
              <a:lstStyle/>
              <a:p>
                <a:pPr>
                  <a:defRPr sz="799">
                    <a:solidFill>
                      <a:srgbClr val="55555A"/>
                    </a:solidFill>
                  </a:defRPr>
                </a:pPr>
                <a:endParaRPr lang="en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5</c:f>
              <c:numCache>
                <c:formatCode>mmm\-yy</c:formatCode>
                <c:ptCount val="24"/>
                <c:pt idx="0">
                  <c:v>42035</c:v>
                </c:pt>
                <c:pt idx="1">
                  <c:v>42155</c:v>
                </c:pt>
                <c:pt idx="2">
                  <c:v>42247</c:v>
                </c:pt>
                <c:pt idx="3">
                  <c:v>42308</c:v>
                </c:pt>
                <c:pt idx="4">
                  <c:v>42429</c:v>
                </c:pt>
                <c:pt idx="5">
                  <c:v>42521</c:v>
                </c:pt>
                <c:pt idx="6">
                  <c:v>42613</c:v>
                </c:pt>
                <c:pt idx="7">
                  <c:v>42704</c:v>
                </c:pt>
                <c:pt idx="8">
                  <c:v>42794</c:v>
                </c:pt>
                <c:pt idx="9">
                  <c:v>42886</c:v>
                </c:pt>
                <c:pt idx="10">
                  <c:v>42978</c:v>
                </c:pt>
                <c:pt idx="11">
                  <c:v>43069</c:v>
                </c:pt>
                <c:pt idx="12">
                  <c:v>43131</c:v>
                </c:pt>
                <c:pt idx="13">
                  <c:v>43251</c:v>
                </c:pt>
                <c:pt idx="14">
                  <c:v>43343</c:v>
                </c:pt>
                <c:pt idx="15">
                  <c:v>43434</c:v>
                </c:pt>
                <c:pt idx="16">
                  <c:v>43524</c:v>
                </c:pt>
                <c:pt idx="17">
                  <c:v>43616</c:v>
                </c:pt>
                <c:pt idx="18">
                  <c:v>43678</c:v>
                </c:pt>
                <c:pt idx="19">
                  <c:v>43799</c:v>
                </c:pt>
                <c:pt idx="20">
                  <c:v>43862</c:v>
                </c:pt>
                <c:pt idx="21">
                  <c:v>43952</c:v>
                </c:pt>
              </c:numCache>
            </c:num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0.34</c:v>
                </c:pt>
                <c:pt idx="1">
                  <c:v>1.03</c:v>
                </c:pt>
                <c:pt idx="2">
                  <c:v>-0.17</c:v>
                </c:pt>
                <c:pt idx="3">
                  <c:v>-0.39</c:v>
                </c:pt>
                <c:pt idx="4">
                  <c:v>0.01</c:v>
                </c:pt>
                <c:pt idx="5">
                  <c:v>-0.03</c:v>
                </c:pt>
                <c:pt idx="6">
                  <c:v>0.37</c:v>
                </c:pt>
                <c:pt idx="7">
                  <c:v>-0.06</c:v>
                </c:pt>
                <c:pt idx="8">
                  <c:v>0.41</c:v>
                </c:pt>
                <c:pt idx="9">
                  <c:v>0.83</c:v>
                </c:pt>
                <c:pt idx="10">
                  <c:v>0.92</c:v>
                </c:pt>
                <c:pt idx="11">
                  <c:v>1.32</c:v>
                </c:pt>
                <c:pt idx="12">
                  <c:v>1.78</c:v>
                </c:pt>
                <c:pt idx="13">
                  <c:v>1.53</c:v>
                </c:pt>
                <c:pt idx="14">
                  <c:v>1.39</c:v>
                </c:pt>
                <c:pt idx="15">
                  <c:v>1.37</c:v>
                </c:pt>
                <c:pt idx="16">
                  <c:v>1.36</c:v>
                </c:pt>
                <c:pt idx="17">
                  <c:v>1.45</c:v>
                </c:pt>
                <c:pt idx="18">
                  <c:v>1.21</c:v>
                </c:pt>
                <c:pt idx="19">
                  <c:v>1.51</c:v>
                </c:pt>
                <c:pt idx="20">
                  <c:v>1.2</c:v>
                </c:pt>
                <c:pt idx="21">
                  <c:v>-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1-8008-4693-8671-5EFC03D4B4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sjonalt</c:v>
                </c:pt>
              </c:strCache>
            </c:strRef>
          </c:tx>
          <c:marker>
            <c:symbol val="none"/>
          </c:marker>
          <c:dLbls>
            <c:dLbl>
              <c:idx val="21"/>
              <c:layout>
                <c:manualLayout>
                  <c:x val="-1.1612428533680943E-16"/>
                  <c:y val="-2.6266416510319086E-2"/>
                </c:manualLayout>
              </c:layout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800"/>
                  </a:pPr>
                  <a:endParaRPr lang="en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5E8-4A05-9183-E248FC7D0194}"/>
                </c:ext>
              </c:extLst>
            </c:dLbl>
            <c:spPr>
              <a:noFill/>
              <a:ln>
                <a:solidFill>
                  <a:schemeClr val="tx1"/>
                </a:solidFill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25</c:f>
              <c:numCache>
                <c:formatCode>mmm\-yy</c:formatCode>
                <c:ptCount val="24"/>
                <c:pt idx="0">
                  <c:v>42035</c:v>
                </c:pt>
                <c:pt idx="1">
                  <c:v>42155</c:v>
                </c:pt>
                <c:pt idx="2">
                  <c:v>42247</c:v>
                </c:pt>
                <c:pt idx="3">
                  <c:v>42308</c:v>
                </c:pt>
                <c:pt idx="4">
                  <c:v>42429</c:v>
                </c:pt>
                <c:pt idx="5">
                  <c:v>42521</c:v>
                </c:pt>
                <c:pt idx="6">
                  <c:v>42613</c:v>
                </c:pt>
                <c:pt idx="7">
                  <c:v>42704</c:v>
                </c:pt>
                <c:pt idx="8">
                  <c:v>42794</c:v>
                </c:pt>
                <c:pt idx="9">
                  <c:v>42886</c:v>
                </c:pt>
                <c:pt idx="10">
                  <c:v>42978</c:v>
                </c:pt>
                <c:pt idx="11">
                  <c:v>43069</c:v>
                </c:pt>
                <c:pt idx="12">
                  <c:v>43131</c:v>
                </c:pt>
                <c:pt idx="13">
                  <c:v>43251</c:v>
                </c:pt>
                <c:pt idx="14">
                  <c:v>43343</c:v>
                </c:pt>
                <c:pt idx="15">
                  <c:v>43434</c:v>
                </c:pt>
                <c:pt idx="16">
                  <c:v>43524</c:v>
                </c:pt>
                <c:pt idx="17">
                  <c:v>43616</c:v>
                </c:pt>
                <c:pt idx="18">
                  <c:v>43678</c:v>
                </c:pt>
                <c:pt idx="19">
                  <c:v>43799</c:v>
                </c:pt>
                <c:pt idx="20">
                  <c:v>43862</c:v>
                </c:pt>
                <c:pt idx="21">
                  <c:v>43952</c:v>
                </c:pt>
              </c:numCache>
            </c:numRef>
          </c:cat>
          <c:val>
            <c:numRef>
              <c:f>Sheet1!$C$2:$C$25</c:f>
              <c:numCache>
                <c:formatCode>General</c:formatCode>
                <c:ptCount val="24"/>
                <c:pt idx="0">
                  <c:v>0.52</c:v>
                </c:pt>
                <c:pt idx="1">
                  <c:v>0.16</c:v>
                </c:pt>
                <c:pt idx="2">
                  <c:v>0.11</c:v>
                </c:pt>
                <c:pt idx="3">
                  <c:v>0.01</c:v>
                </c:pt>
                <c:pt idx="4">
                  <c:v>0</c:v>
                </c:pt>
                <c:pt idx="5">
                  <c:v>0.16</c:v>
                </c:pt>
                <c:pt idx="6">
                  <c:v>0.49</c:v>
                </c:pt>
                <c:pt idx="7">
                  <c:v>0.6</c:v>
                </c:pt>
                <c:pt idx="8">
                  <c:v>0.83</c:v>
                </c:pt>
                <c:pt idx="9">
                  <c:v>1.1100000000000001</c:v>
                </c:pt>
                <c:pt idx="10">
                  <c:v>1.23</c:v>
                </c:pt>
                <c:pt idx="11">
                  <c:v>1.22</c:v>
                </c:pt>
                <c:pt idx="12">
                  <c:v>1.31</c:v>
                </c:pt>
                <c:pt idx="13">
                  <c:v>1.23</c:v>
                </c:pt>
                <c:pt idx="14">
                  <c:v>1.35</c:v>
                </c:pt>
                <c:pt idx="15">
                  <c:v>1.38</c:v>
                </c:pt>
                <c:pt idx="16">
                  <c:v>1.43</c:v>
                </c:pt>
                <c:pt idx="17">
                  <c:v>1.51</c:v>
                </c:pt>
                <c:pt idx="18">
                  <c:v>1.48</c:v>
                </c:pt>
                <c:pt idx="19">
                  <c:v>1.06</c:v>
                </c:pt>
                <c:pt idx="20">
                  <c:v>0.89</c:v>
                </c:pt>
                <c:pt idx="21">
                  <c:v>-2.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5E8-4A05-9183-E248FC7D01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0734352"/>
        <c:axId val="1"/>
      </c:lineChart>
      <c:dateAx>
        <c:axId val="170734352"/>
        <c:scaling>
          <c:orientation val="minMax"/>
          <c:max val="44012"/>
          <c:min val="42005"/>
        </c:scaling>
        <c:delete val="0"/>
        <c:axPos val="b"/>
        <c:numFmt formatCode="yyyy" sourceLinked="0"/>
        <c:majorTickMark val="out"/>
        <c:minorTickMark val="none"/>
        <c:tickLblPos val="nextTo"/>
        <c:txPr>
          <a:bodyPr/>
          <a:lstStyle/>
          <a:p>
            <a:pPr>
              <a:defRPr sz="999"/>
            </a:pPr>
            <a:endParaRPr lang="en-NO"/>
          </a:p>
        </c:txPr>
        <c:crossAx val="1"/>
        <c:crosses val="autoZero"/>
        <c:auto val="1"/>
        <c:lblOffset val="100"/>
        <c:baseTimeUnit val="months"/>
        <c:majorUnit val="1"/>
        <c:majorTimeUnit val="years"/>
      </c:dateAx>
      <c:valAx>
        <c:axId val="1"/>
        <c:scaling>
          <c:orientation val="minMax"/>
          <c:max val="3"/>
          <c:min val="-3"/>
        </c:scaling>
        <c:delete val="1"/>
        <c:axPos val="l"/>
        <c:numFmt formatCode="General" sourceLinked="1"/>
        <c:majorTickMark val="out"/>
        <c:minorTickMark val="none"/>
        <c:tickLblPos val="nextTo"/>
        <c:crossAx val="170734352"/>
        <c:crosses val="autoZero"/>
        <c:crossBetween val="between"/>
      </c:valAx>
      <c:spPr>
        <a:noFill/>
        <a:ln w="25378">
          <a:noFill/>
        </a:ln>
      </c:spPr>
    </c:plotArea>
    <c:legend>
      <c:legendPos val="b"/>
      <c:overlay val="0"/>
      <c:txPr>
        <a:bodyPr/>
        <a:lstStyle/>
        <a:p>
          <a:pPr>
            <a:defRPr sz="1500"/>
          </a:pPr>
          <a:endParaRPr lang="en-NO"/>
        </a:p>
      </c:txPr>
    </c:legend>
    <c:plotVisOnly val="1"/>
    <c:dispBlanksAs val="gap"/>
    <c:showDLblsOverMax val="0"/>
  </c:chart>
  <c:txPr>
    <a:bodyPr/>
    <a:lstStyle/>
    <a:p>
      <a:pPr>
        <a:defRPr sz="1798"/>
      </a:pPr>
      <a:endParaRPr lang="en-NO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252686616310277E-2"/>
          <c:y val="3.2925114430218616E-2"/>
          <c:w val="0.8997712509603969"/>
          <c:h val="0.9670748855697812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gion Sør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AB-4C9B-B269-070DBC36A77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1AB-4C9B-B269-070DBC36A77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1AB-4C9B-B269-070DBC36A77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1AB-4C9B-B269-070DBC36A776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1AB-4C9B-B269-070DBC36A776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1AB-4C9B-B269-070DBC36A776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1AB-4C9B-B269-070DBC36A776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1AB-4C9B-B269-070DBC36A776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1AB-4C9B-B269-070DBC36A776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1AB-4C9B-B269-070DBC36A776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1AB-4C9B-B269-070DBC36A776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1AB-4C9B-B269-070DBC36A776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1AB-4C9B-B269-070DBC36A776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1AB-4C9B-B269-070DBC36A776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1AB-4C9B-B269-070DBC36A776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1AB-4C9B-B269-070DBC36A776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1AB-4C9B-B269-070DBC36A776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1AB-4C9B-B269-070DBC36A776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DE3-4058-B064-BD958A2263ED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B8F-4138-B57E-FE9C7DF3880E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15B-4596-ACC6-8E051EF0022C}"/>
                </c:ext>
              </c:extLst>
            </c:dLbl>
            <c:dLbl>
              <c:idx val="5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1AB-4C9B-B269-070DBC36A776}"/>
                </c:ext>
              </c:extLst>
            </c:dLbl>
            <c:dLbl>
              <c:idx val="5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1AB-4C9B-B269-070DBC36A776}"/>
                </c:ext>
              </c:extLst>
            </c:dLbl>
            <c:dLbl>
              <c:idx val="5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1AB-4C9B-B269-070DBC36A776}"/>
                </c:ext>
              </c:extLst>
            </c:dLbl>
            <c:dLbl>
              <c:idx val="5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1AB-4C9B-B269-070DBC36A776}"/>
                </c:ext>
              </c:extLst>
            </c:dLbl>
            <c:dLbl>
              <c:idx val="5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1AB-4C9B-B269-070DBC36A776}"/>
                </c:ext>
              </c:extLst>
            </c:dLbl>
            <c:dLbl>
              <c:idx val="5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61AB-4C9B-B269-070DBC36A776}"/>
                </c:ext>
              </c:extLst>
            </c:dLbl>
            <c:dLbl>
              <c:idx val="6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61AB-4C9B-B269-070DBC36A776}"/>
                </c:ext>
              </c:extLst>
            </c:dLbl>
            <c:dLbl>
              <c:idx val="6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61AB-4C9B-B269-070DBC36A776}"/>
                </c:ext>
              </c:extLst>
            </c:dLbl>
            <c:dLbl>
              <c:idx val="6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61AB-4C9B-B269-070DBC36A776}"/>
                </c:ext>
              </c:extLst>
            </c:dLbl>
            <c:dLbl>
              <c:idx val="6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61AB-4C9B-B269-070DBC36A776}"/>
                </c:ext>
              </c:extLst>
            </c:dLbl>
            <c:dLbl>
              <c:idx val="6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61AB-4C9B-B269-070DBC36A776}"/>
                </c:ext>
              </c:extLst>
            </c:dLbl>
            <c:dLbl>
              <c:idx val="6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61AB-4C9B-B269-070DBC36A776}"/>
                </c:ext>
              </c:extLst>
            </c:dLbl>
            <c:dLbl>
              <c:idx val="6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61AB-4C9B-B269-070DBC36A776}"/>
                </c:ext>
              </c:extLst>
            </c:dLbl>
            <c:dLbl>
              <c:idx val="6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61AB-4C9B-B269-070DBC36A776}"/>
                </c:ext>
              </c:extLst>
            </c:dLbl>
            <c:dLbl>
              <c:idx val="6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61AB-4C9B-B269-070DBC36A776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231464"/>
                </a:solidFill>
              </a:ln>
            </c:spPr>
            <c:txPr>
              <a:bodyPr/>
              <a:lstStyle/>
              <a:p>
                <a:pPr>
                  <a:defRPr sz="800">
                    <a:solidFill>
                      <a:srgbClr val="55555A"/>
                    </a:solidFill>
                  </a:defRPr>
                </a:pPr>
                <a:endParaRPr lang="en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4</c:f>
              <c:numCache>
                <c:formatCode>mmm\-yy</c:formatCode>
                <c:ptCount val="23"/>
                <c:pt idx="0">
                  <c:v>42035</c:v>
                </c:pt>
                <c:pt idx="1">
                  <c:v>42155</c:v>
                </c:pt>
                <c:pt idx="2">
                  <c:v>42247</c:v>
                </c:pt>
                <c:pt idx="3">
                  <c:v>42308</c:v>
                </c:pt>
                <c:pt idx="4">
                  <c:v>42429</c:v>
                </c:pt>
                <c:pt idx="5">
                  <c:v>42521</c:v>
                </c:pt>
                <c:pt idx="6">
                  <c:v>42613</c:v>
                </c:pt>
                <c:pt idx="7">
                  <c:v>42704</c:v>
                </c:pt>
                <c:pt idx="8">
                  <c:v>42794</c:v>
                </c:pt>
                <c:pt idx="9">
                  <c:v>42886</c:v>
                </c:pt>
                <c:pt idx="10">
                  <c:v>42978</c:v>
                </c:pt>
                <c:pt idx="11">
                  <c:v>43069</c:v>
                </c:pt>
                <c:pt idx="12">
                  <c:v>43131</c:v>
                </c:pt>
                <c:pt idx="13">
                  <c:v>43251</c:v>
                </c:pt>
                <c:pt idx="14">
                  <c:v>43343</c:v>
                </c:pt>
                <c:pt idx="15">
                  <c:v>43434</c:v>
                </c:pt>
                <c:pt idx="16">
                  <c:v>43524</c:v>
                </c:pt>
                <c:pt idx="17">
                  <c:v>43616</c:v>
                </c:pt>
                <c:pt idx="18">
                  <c:v>43708</c:v>
                </c:pt>
                <c:pt idx="19">
                  <c:v>43799</c:v>
                </c:pt>
                <c:pt idx="20">
                  <c:v>43890</c:v>
                </c:pt>
                <c:pt idx="21">
                  <c:v>43982</c:v>
                </c:pt>
              </c:numCache>
            </c:numRef>
          </c:cat>
          <c:val>
            <c:numRef>
              <c:f>Sheet1!$B$2:$B$24</c:f>
              <c:numCache>
                <c:formatCode>General</c:formatCode>
                <c:ptCount val="23"/>
                <c:pt idx="0">
                  <c:v>0.14000000000000001</c:v>
                </c:pt>
                <c:pt idx="1">
                  <c:v>0.7</c:v>
                </c:pt>
                <c:pt idx="2">
                  <c:v>-0.32</c:v>
                </c:pt>
                <c:pt idx="3">
                  <c:v>0.48</c:v>
                </c:pt>
                <c:pt idx="4">
                  <c:v>1.1100000000000001</c:v>
                </c:pt>
                <c:pt idx="5">
                  <c:v>0.77</c:v>
                </c:pt>
                <c:pt idx="6">
                  <c:v>-0.05</c:v>
                </c:pt>
                <c:pt idx="7">
                  <c:v>-0.75</c:v>
                </c:pt>
                <c:pt idx="8">
                  <c:v>0.44</c:v>
                </c:pt>
                <c:pt idx="9">
                  <c:v>0.7</c:v>
                </c:pt>
                <c:pt idx="10">
                  <c:v>-0.21</c:v>
                </c:pt>
                <c:pt idx="11">
                  <c:v>1.02</c:v>
                </c:pt>
                <c:pt idx="12">
                  <c:v>0.46</c:v>
                </c:pt>
                <c:pt idx="13">
                  <c:v>0.67</c:v>
                </c:pt>
                <c:pt idx="14">
                  <c:v>0.73</c:v>
                </c:pt>
                <c:pt idx="15">
                  <c:v>0.99</c:v>
                </c:pt>
                <c:pt idx="16">
                  <c:v>0.77</c:v>
                </c:pt>
                <c:pt idx="17">
                  <c:v>0.66</c:v>
                </c:pt>
                <c:pt idx="18">
                  <c:v>0.89</c:v>
                </c:pt>
                <c:pt idx="19">
                  <c:v>0.55000000000000004</c:v>
                </c:pt>
                <c:pt idx="20">
                  <c:v>0.66</c:v>
                </c:pt>
                <c:pt idx="21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1-61AB-4C9B-B269-070DBC36A77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sjonalt</c:v>
                </c:pt>
              </c:strCache>
            </c:strRef>
          </c:tx>
          <c:marker>
            <c:symbol val="none"/>
          </c:marker>
          <c:dLbls>
            <c:dLbl>
              <c:idx val="21"/>
              <c:layout>
                <c:manualLayout>
                  <c:x val="-1.2673268907556736E-2"/>
                  <c:y val="3.75234521575971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15B-4596-ACC6-8E051EF0022C}"/>
                </c:ext>
              </c:extLst>
            </c:dLbl>
            <c:spPr>
              <a:noFill/>
              <a:ln>
                <a:solidFill>
                  <a:schemeClr val="tx1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n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24</c:f>
              <c:numCache>
                <c:formatCode>mmm\-yy</c:formatCode>
                <c:ptCount val="23"/>
                <c:pt idx="0">
                  <c:v>42035</c:v>
                </c:pt>
                <c:pt idx="1">
                  <c:v>42155</c:v>
                </c:pt>
                <c:pt idx="2">
                  <c:v>42247</c:v>
                </c:pt>
                <c:pt idx="3">
                  <c:v>42308</c:v>
                </c:pt>
                <c:pt idx="4">
                  <c:v>42429</c:v>
                </c:pt>
                <c:pt idx="5">
                  <c:v>42521</c:v>
                </c:pt>
                <c:pt idx="6">
                  <c:v>42613</c:v>
                </c:pt>
                <c:pt idx="7">
                  <c:v>42704</c:v>
                </c:pt>
                <c:pt idx="8">
                  <c:v>42794</c:v>
                </c:pt>
                <c:pt idx="9">
                  <c:v>42886</c:v>
                </c:pt>
                <c:pt idx="10">
                  <c:v>42978</c:v>
                </c:pt>
                <c:pt idx="11">
                  <c:v>43069</c:v>
                </c:pt>
                <c:pt idx="12">
                  <c:v>43131</c:v>
                </c:pt>
                <c:pt idx="13">
                  <c:v>43251</c:v>
                </c:pt>
                <c:pt idx="14">
                  <c:v>43343</c:v>
                </c:pt>
                <c:pt idx="15">
                  <c:v>43434</c:v>
                </c:pt>
                <c:pt idx="16">
                  <c:v>43524</c:v>
                </c:pt>
                <c:pt idx="17">
                  <c:v>43616</c:v>
                </c:pt>
                <c:pt idx="18">
                  <c:v>43708</c:v>
                </c:pt>
                <c:pt idx="19">
                  <c:v>43799</c:v>
                </c:pt>
                <c:pt idx="20">
                  <c:v>43890</c:v>
                </c:pt>
                <c:pt idx="21">
                  <c:v>43982</c:v>
                </c:pt>
              </c:numCache>
            </c:numRef>
          </c:cat>
          <c:val>
            <c:numRef>
              <c:f>Sheet1!$C$2:$C$24</c:f>
              <c:numCache>
                <c:formatCode>General</c:formatCode>
                <c:ptCount val="23"/>
                <c:pt idx="0">
                  <c:v>0.21</c:v>
                </c:pt>
                <c:pt idx="1">
                  <c:v>0.18</c:v>
                </c:pt>
                <c:pt idx="2">
                  <c:v>-0.31</c:v>
                </c:pt>
                <c:pt idx="3">
                  <c:v>-7.0000000000000007E-2</c:v>
                </c:pt>
                <c:pt idx="4">
                  <c:v>0.35</c:v>
                </c:pt>
                <c:pt idx="5">
                  <c:v>0.45</c:v>
                </c:pt>
                <c:pt idx="6">
                  <c:v>0.22</c:v>
                </c:pt>
                <c:pt idx="7">
                  <c:v>0.06</c:v>
                </c:pt>
                <c:pt idx="8">
                  <c:v>0.03</c:v>
                </c:pt>
                <c:pt idx="9">
                  <c:v>0.51</c:v>
                </c:pt>
                <c:pt idx="10">
                  <c:v>0.28999999999999998</c:v>
                </c:pt>
                <c:pt idx="11">
                  <c:v>0.82</c:v>
                </c:pt>
                <c:pt idx="12">
                  <c:v>0.96</c:v>
                </c:pt>
                <c:pt idx="13">
                  <c:v>0.91</c:v>
                </c:pt>
                <c:pt idx="14">
                  <c:v>0.61</c:v>
                </c:pt>
                <c:pt idx="15">
                  <c:v>0.43</c:v>
                </c:pt>
                <c:pt idx="16">
                  <c:v>0.62</c:v>
                </c:pt>
                <c:pt idx="17">
                  <c:v>0.67</c:v>
                </c:pt>
                <c:pt idx="18">
                  <c:v>0.34</c:v>
                </c:pt>
                <c:pt idx="19">
                  <c:v>0.45</c:v>
                </c:pt>
                <c:pt idx="20">
                  <c:v>0.46</c:v>
                </c:pt>
                <c:pt idx="21">
                  <c:v>-1.09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15B-4596-ACC6-8E051EF00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3683920"/>
        <c:axId val="1"/>
      </c:lineChart>
      <c:dateAx>
        <c:axId val="163683920"/>
        <c:scaling>
          <c:orientation val="minMax"/>
          <c:max val="44012"/>
          <c:min val="42005"/>
        </c:scaling>
        <c:delete val="0"/>
        <c:axPos val="b"/>
        <c:numFmt formatCode="yyyy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NO"/>
          </a:p>
        </c:txPr>
        <c:crossAx val="1"/>
        <c:crosses val="autoZero"/>
        <c:auto val="1"/>
        <c:lblOffset val="100"/>
        <c:baseTimeUnit val="months"/>
        <c:majorUnit val="1"/>
        <c:majorTimeUnit val="years"/>
      </c:dateAx>
      <c:valAx>
        <c:axId val="1"/>
        <c:scaling>
          <c:orientation val="minMax"/>
          <c:max val="3"/>
          <c:min val="-3"/>
        </c:scaling>
        <c:delete val="1"/>
        <c:axPos val="l"/>
        <c:numFmt formatCode="General" sourceLinked="1"/>
        <c:majorTickMark val="out"/>
        <c:minorTickMark val="none"/>
        <c:tickLblPos val="nextTo"/>
        <c:crossAx val="163683920"/>
        <c:crosses val="autoZero"/>
        <c:crossBetween val="between"/>
      </c:valAx>
      <c:spPr>
        <a:noFill/>
        <a:ln w="25406">
          <a:noFill/>
        </a:ln>
      </c:spPr>
    </c:plotArea>
    <c:legend>
      <c:legendPos val="b"/>
      <c:overlay val="0"/>
      <c:txPr>
        <a:bodyPr/>
        <a:lstStyle/>
        <a:p>
          <a:pPr>
            <a:defRPr sz="1500"/>
          </a:pPr>
          <a:endParaRPr lang="en-NO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NO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252686616310277E-2"/>
          <c:y val="3.2925114430218616E-2"/>
          <c:w val="0.83957807401790097"/>
          <c:h val="0.9670748855697812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gion Sør</c:v>
                </c:pt>
              </c:strCache>
            </c:strRef>
          </c:tx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F9-486B-83CF-AB52F666F8C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F9-486B-83CF-AB52F666F8C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3F9-486B-83CF-AB52F666F8C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3F9-486B-83CF-AB52F666F8C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3F9-486B-83CF-AB52F666F8C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F9-486B-83CF-AB52F666F8C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3F9-486B-83CF-AB52F666F8C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F9-486B-83CF-AB52F666F8C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3F9-486B-83CF-AB52F666F8C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3F9-486B-83CF-AB52F666F8CD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3F9-486B-83CF-AB52F666F8CD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3F9-486B-83CF-AB52F666F8CD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3F9-486B-83CF-AB52F666F8CD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3F9-486B-83CF-AB52F666F8CD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3F9-486B-83CF-AB52F666F8CD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3F9-486B-83CF-AB52F666F8CD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3F9-486B-83CF-AB52F666F8CD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3F9-486B-83CF-AB52F666F8CD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3F9-486B-83CF-AB52F666F8CD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BBC-45B2-8FFE-E8A0E40C0F0C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FBE-49BA-A339-11FA2387F236}"/>
                </c:ext>
              </c:extLst>
            </c:dLbl>
            <c:dLbl>
              <c:idx val="21"/>
              <c:layout>
                <c:manualLayout>
                  <c:x val="-2.4728834523572524E-2"/>
                  <c:y val="-6.12001842517514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FBE-49BA-A339-11FA2387F236}"/>
                </c:ext>
              </c:extLst>
            </c:dLbl>
            <c:dLbl>
              <c:idx val="5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3F9-486B-83CF-AB52F666F8CD}"/>
                </c:ext>
              </c:extLst>
            </c:dLbl>
            <c:dLbl>
              <c:idx val="5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3F9-486B-83CF-AB52F666F8CD}"/>
                </c:ext>
              </c:extLst>
            </c:dLbl>
            <c:dLbl>
              <c:idx val="5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93F9-486B-83CF-AB52F666F8CD}"/>
                </c:ext>
              </c:extLst>
            </c:dLbl>
            <c:dLbl>
              <c:idx val="5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3F9-486B-83CF-AB52F666F8CD}"/>
                </c:ext>
              </c:extLst>
            </c:dLbl>
            <c:dLbl>
              <c:idx val="5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93F9-486B-83CF-AB52F666F8CD}"/>
                </c:ext>
              </c:extLst>
            </c:dLbl>
            <c:dLbl>
              <c:idx val="5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93F9-486B-83CF-AB52F666F8CD}"/>
                </c:ext>
              </c:extLst>
            </c:dLbl>
            <c:dLbl>
              <c:idx val="6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93F9-486B-83CF-AB52F666F8CD}"/>
                </c:ext>
              </c:extLst>
            </c:dLbl>
            <c:dLbl>
              <c:idx val="6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93F9-486B-83CF-AB52F666F8CD}"/>
                </c:ext>
              </c:extLst>
            </c:dLbl>
            <c:dLbl>
              <c:idx val="6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93F9-486B-83CF-AB52F666F8CD}"/>
                </c:ext>
              </c:extLst>
            </c:dLbl>
            <c:dLbl>
              <c:idx val="6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93F9-486B-83CF-AB52F666F8CD}"/>
                </c:ext>
              </c:extLst>
            </c:dLbl>
            <c:dLbl>
              <c:idx val="6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93F9-486B-83CF-AB52F666F8CD}"/>
                </c:ext>
              </c:extLst>
            </c:dLbl>
            <c:dLbl>
              <c:idx val="6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93F9-486B-83CF-AB52F666F8CD}"/>
                </c:ext>
              </c:extLst>
            </c:dLbl>
            <c:dLbl>
              <c:idx val="6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93F9-486B-83CF-AB52F666F8CD}"/>
                </c:ext>
              </c:extLst>
            </c:dLbl>
            <c:dLbl>
              <c:idx val="6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93F9-486B-83CF-AB52F666F8CD}"/>
                </c:ext>
              </c:extLst>
            </c:dLbl>
            <c:dLbl>
              <c:idx val="6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93F9-486B-83CF-AB52F666F8CD}"/>
                </c:ext>
              </c:extLst>
            </c:dLbl>
            <c:dLbl>
              <c:idx val="6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93F9-486B-83CF-AB52F666F8CD}"/>
                </c:ext>
              </c:extLst>
            </c:dLbl>
            <c:dLbl>
              <c:idx val="7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93F9-486B-83CF-AB52F666F8CD}"/>
                </c:ext>
              </c:extLst>
            </c:dLbl>
            <c:dLbl>
              <c:idx val="7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93F9-486B-83CF-AB52F666F8CD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231464"/>
                </a:solidFill>
              </a:ln>
            </c:spPr>
            <c:txPr>
              <a:bodyPr/>
              <a:lstStyle/>
              <a:p>
                <a:pPr>
                  <a:defRPr sz="800">
                    <a:solidFill>
                      <a:srgbClr val="55555A"/>
                    </a:solidFill>
                  </a:defRPr>
                </a:pPr>
                <a:endParaRPr lang="en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3</c:f>
              <c:numCache>
                <c:formatCode>mmm\-yy</c:formatCode>
                <c:ptCount val="22"/>
                <c:pt idx="0">
                  <c:v>42035</c:v>
                </c:pt>
                <c:pt idx="1">
                  <c:v>42155</c:v>
                </c:pt>
                <c:pt idx="2">
                  <c:v>42247</c:v>
                </c:pt>
                <c:pt idx="3">
                  <c:v>42308</c:v>
                </c:pt>
                <c:pt idx="4">
                  <c:v>42429</c:v>
                </c:pt>
                <c:pt idx="5">
                  <c:v>42521</c:v>
                </c:pt>
                <c:pt idx="6">
                  <c:v>42613</c:v>
                </c:pt>
                <c:pt idx="7">
                  <c:v>42704</c:v>
                </c:pt>
                <c:pt idx="8">
                  <c:v>42794</c:v>
                </c:pt>
                <c:pt idx="9">
                  <c:v>42886</c:v>
                </c:pt>
                <c:pt idx="10">
                  <c:v>42978</c:v>
                </c:pt>
                <c:pt idx="11">
                  <c:v>43069</c:v>
                </c:pt>
                <c:pt idx="12">
                  <c:v>43131</c:v>
                </c:pt>
                <c:pt idx="13">
                  <c:v>43251</c:v>
                </c:pt>
                <c:pt idx="14">
                  <c:v>43343</c:v>
                </c:pt>
                <c:pt idx="15">
                  <c:v>43434</c:v>
                </c:pt>
                <c:pt idx="16">
                  <c:v>43524</c:v>
                </c:pt>
                <c:pt idx="17">
                  <c:v>43616</c:v>
                </c:pt>
                <c:pt idx="18">
                  <c:v>43678</c:v>
                </c:pt>
                <c:pt idx="19">
                  <c:v>43799</c:v>
                </c:pt>
                <c:pt idx="20">
                  <c:v>43862</c:v>
                </c:pt>
                <c:pt idx="21">
                  <c:v>43952</c:v>
                </c:pt>
              </c:numCache>
            </c:numRef>
          </c:cat>
          <c:val>
            <c:numRef>
              <c:f>Sheet1!$B$2:$B$23</c:f>
              <c:numCache>
                <c:formatCode>General</c:formatCode>
                <c:ptCount val="22"/>
                <c:pt idx="0">
                  <c:v>-0.02</c:v>
                </c:pt>
                <c:pt idx="1">
                  <c:v>-0.36</c:v>
                </c:pt>
                <c:pt idx="2">
                  <c:v>-0.47</c:v>
                </c:pt>
                <c:pt idx="3">
                  <c:v>-0.06</c:v>
                </c:pt>
                <c:pt idx="4">
                  <c:v>-0.06</c:v>
                </c:pt>
                <c:pt idx="5">
                  <c:v>-0.04</c:v>
                </c:pt>
                <c:pt idx="6">
                  <c:v>0.06</c:v>
                </c:pt>
                <c:pt idx="7">
                  <c:v>-0.26</c:v>
                </c:pt>
                <c:pt idx="8">
                  <c:v>0.04</c:v>
                </c:pt>
                <c:pt idx="9">
                  <c:v>0.45</c:v>
                </c:pt>
                <c:pt idx="10">
                  <c:v>0.21</c:v>
                </c:pt>
                <c:pt idx="11">
                  <c:v>0.17</c:v>
                </c:pt>
                <c:pt idx="12">
                  <c:v>0.09</c:v>
                </c:pt>
                <c:pt idx="13">
                  <c:v>0.44</c:v>
                </c:pt>
                <c:pt idx="14">
                  <c:v>0.45</c:v>
                </c:pt>
                <c:pt idx="15">
                  <c:v>0.54</c:v>
                </c:pt>
                <c:pt idx="16">
                  <c:v>0.35</c:v>
                </c:pt>
                <c:pt idx="17">
                  <c:v>0.25</c:v>
                </c:pt>
                <c:pt idx="18">
                  <c:v>0.3</c:v>
                </c:pt>
                <c:pt idx="19">
                  <c:v>0.2</c:v>
                </c:pt>
                <c:pt idx="20">
                  <c:v>0.53</c:v>
                </c:pt>
                <c:pt idx="21">
                  <c:v>-1.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5-93F9-486B-83CF-AB52F666F8C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sjonalt</c:v>
                </c:pt>
              </c:strCache>
            </c:strRef>
          </c:tx>
          <c:marker>
            <c:symbol val="none"/>
          </c:marker>
          <c:dLbls>
            <c:dLbl>
              <c:idx val="21"/>
              <c:layout>
                <c:manualLayout>
                  <c:x val="1.2673265745908888E-2"/>
                  <c:y val="-3.08590442860261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FBE-49BA-A339-11FA2387F236}"/>
                </c:ext>
              </c:extLst>
            </c:dLbl>
            <c:spPr>
              <a:noFill/>
              <a:ln>
                <a:solidFill>
                  <a:schemeClr val="tx1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00"/>
                </a:pPr>
                <a:endParaRPr lang="en-N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23</c:f>
              <c:numCache>
                <c:formatCode>mmm\-yy</c:formatCode>
                <c:ptCount val="22"/>
                <c:pt idx="0">
                  <c:v>42035</c:v>
                </c:pt>
                <c:pt idx="1">
                  <c:v>42155</c:v>
                </c:pt>
                <c:pt idx="2">
                  <c:v>42247</c:v>
                </c:pt>
                <c:pt idx="3">
                  <c:v>42308</c:v>
                </c:pt>
                <c:pt idx="4">
                  <c:v>42429</c:v>
                </c:pt>
                <c:pt idx="5">
                  <c:v>42521</c:v>
                </c:pt>
                <c:pt idx="6">
                  <c:v>42613</c:v>
                </c:pt>
                <c:pt idx="7">
                  <c:v>42704</c:v>
                </c:pt>
                <c:pt idx="8">
                  <c:v>42794</c:v>
                </c:pt>
                <c:pt idx="9">
                  <c:v>42886</c:v>
                </c:pt>
                <c:pt idx="10">
                  <c:v>42978</c:v>
                </c:pt>
                <c:pt idx="11">
                  <c:v>43069</c:v>
                </c:pt>
                <c:pt idx="12">
                  <c:v>43131</c:v>
                </c:pt>
                <c:pt idx="13">
                  <c:v>43251</c:v>
                </c:pt>
                <c:pt idx="14">
                  <c:v>43343</c:v>
                </c:pt>
                <c:pt idx="15">
                  <c:v>43434</c:v>
                </c:pt>
                <c:pt idx="16">
                  <c:v>43524</c:v>
                </c:pt>
                <c:pt idx="17">
                  <c:v>43616</c:v>
                </c:pt>
                <c:pt idx="18">
                  <c:v>43678</c:v>
                </c:pt>
                <c:pt idx="19">
                  <c:v>43799</c:v>
                </c:pt>
                <c:pt idx="20">
                  <c:v>43862</c:v>
                </c:pt>
                <c:pt idx="21">
                  <c:v>43952</c:v>
                </c:pt>
              </c:numCache>
            </c:numRef>
          </c:cat>
          <c:val>
            <c:numRef>
              <c:f>Sheet1!$C$2:$C$23</c:f>
              <c:numCache>
                <c:formatCode>General</c:formatCode>
                <c:ptCount val="22"/>
                <c:pt idx="0">
                  <c:v>0.09</c:v>
                </c:pt>
                <c:pt idx="1">
                  <c:v>-0.18</c:v>
                </c:pt>
                <c:pt idx="2">
                  <c:v>-7.0000000000000007E-2</c:v>
                </c:pt>
                <c:pt idx="3">
                  <c:v>-0.11</c:v>
                </c:pt>
                <c:pt idx="4">
                  <c:v>-0.19</c:v>
                </c:pt>
                <c:pt idx="5">
                  <c:v>-0.05</c:v>
                </c:pt>
                <c:pt idx="6">
                  <c:v>-0.06</c:v>
                </c:pt>
                <c:pt idx="7">
                  <c:v>0.08</c:v>
                </c:pt>
                <c:pt idx="8">
                  <c:v>0.16</c:v>
                </c:pt>
                <c:pt idx="9">
                  <c:v>0.42</c:v>
                </c:pt>
                <c:pt idx="10">
                  <c:v>0.32</c:v>
                </c:pt>
                <c:pt idx="11">
                  <c:v>0.31</c:v>
                </c:pt>
                <c:pt idx="12">
                  <c:v>0.44</c:v>
                </c:pt>
                <c:pt idx="13">
                  <c:v>0.5</c:v>
                </c:pt>
                <c:pt idx="14">
                  <c:v>0.44</c:v>
                </c:pt>
                <c:pt idx="15">
                  <c:v>0.51</c:v>
                </c:pt>
                <c:pt idx="16">
                  <c:v>0.43</c:v>
                </c:pt>
                <c:pt idx="17">
                  <c:v>0.48</c:v>
                </c:pt>
                <c:pt idx="18">
                  <c:v>0.37</c:v>
                </c:pt>
                <c:pt idx="19">
                  <c:v>0.26</c:v>
                </c:pt>
                <c:pt idx="20">
                  <c:v>0.26</c:v>
                </c:pt>
                <c:pt idx="21">
                  <c:v>-1.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BE-49BA-A339-11FA2387F2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2118616"/>
        <c:axId val="1"/>
      </c:lineChart>
      <c:dateAx>
        <c:axId val="162118616"/>
        <c:scaling>
          <c:orientation val="minMax"/>
          <c:max val="44012"/>
          <c:min val="42005"/>
        </c:scaling>
        <c:delete val="0"/>
        <c:axPos val="b"/>
        <c:numFmt formatCode="yyyy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NO"/>
          </a:p>
        </c:txPr>
        <c:crossAx val="1"/>
        <c:crosses val="autoZero"/>
        <c:auto val="1"/>
        <c:lblOffset val="100"/>
        <c:baseTimeUnit val="months"/>
        <c:majorUnit val="1"/>
        <c:majorTimeUnit val="years"/>
      </c:dateAx>
      <c:valAx>
        <c:axId val="1"/>
        <c:scaling>
          <c:orientation val="minMax"/>
          <c:max val="1"/>
          <c:min val="-2"/>
        </c:scaling>
        <c:delete val="1"/>
        <c:axPos val="l"/>
        <c:numFmt formatCode="General" sourceLinked="1"/>
        <c:majorTickMark val="out"/>
        <c:minorTickMark val="none"/>
        <c:tickLblPos val="nextTo"/>
        <c:crossAx val="162118616"/>
        <c:crosses val="autoZero"/>
        <c:crossBetween val="between"/>
      </c:valAx>
      <c:spPr>
        <a:noFill/>
        <a:ln w="25392">
          <a:noFill/>
        </a:ln>
      </c:spPr>
    </c:plotArea>
    <c:legend>
      <c:legendPos val="b"/>
      <c:layout>
        <c:manualLayout>
          <c:xMode val="edge"/>
          <c:yMode val="edge"/>
          <c:x val="6.153593993470774E-2"/>
          <c:y val="0.85125801805792123"/>
          <c:w val="0.74385882979854001"/>
          <c:h val="0.12229137255405627"/>
        </c:manualLayout>
      </c:layout>
      <c:overlay val="0"/>
      <c:txPr>
        <a:bodyPr/>
        <a:lstStyle/>
        <a:p>
          <a:pPr>
            <a:defRPr sz="1500"/>
          </a:pPr>
          <a:endParaRPr lang="en-NO"/>
        </a:p>
      </c:txPr>
    </c:legend>
    <c:plotVisOnly val="1"/>
    <c:dispBlanksAs val="gap"/>
    <c:showDLblsOverMax val="0"/>
  </c:chart>
  <c:txPr>
    <a:bodyPr/>
    <a:lstStyle/>
    <a:p>
      <a:pPr>
        <a:defRPr sz="1799"/>
      </a:pPr>
      <a:endParaRPr lang="en-NO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 defTabSz="84887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 defTabSz="84887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85D8611-A2DF-44AE-B9EB-566FBCFB1A50}" type="datetimeFigureOut">
              <a:rPr lang="en-US"/>
              <a:pPr>
                <a:defRPr/>
              </a:pPr>
              <a:t>8/31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324"/>
            <a:ext cx="4302625" cy="340264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 defTabSz="84887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CCD0EAF-5D7C-4F4A-9138-41DBAB183E3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 defTabSz="84887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 defTabSz="84887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C014720-F2E4-48A4-8D41-EDB055981221}" type="datetimeFigureOut">
              <a:rPr lang="en-US"/>
              <a:pPr>
                <a:defRPr/>
              </a:pPr>
              <a:t>8/31/20</a:t>
            </a:fld>
            <a:endParaRPr lang="en-US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509588"/>
            <a:ext cx="407828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pPr lvl="0"/>
            <a:endParaRPr lang="en-US" noProof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992201" y="3228705"/>
            <a:ext cx="7942238" cy="3059117"/>
          </a:xfrm>
          <a:prstGeom prst="rect">
            <a:avLst/>
          </a:prstGeom>
        </p:spPr>
        <p:txBody>
          <a:bodyPr vert="horz" lIns="91428" tIns="45714" rIns="91428" bIns="45714" rtlCol="0">
            <a:normAutofit/>
          </a:bodyPr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en-US" noProof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6456324"/>
            <a:ext cx="4302625" cy="340264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 defTabSz="848877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wrap="square" lIns="91428" tIns="45714" rIns="91428" bIns="4571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BC824AB-2234-4C9F-8A72-8085958419BA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5934E-B458-426D-85CE-299ED65472CA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253109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C824AB-2234-4C9F-8A72-8085958419BA}" type="slidenum">
              <a:rPr lang="en-US" altLang="nb-NO" smtClean="0"/>
              <a:pPr/>
              <a:t>11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8148830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C824AB-2234-4C9F-8A72-8085958419BA}" type="slidenum">
              <a:rPr lang="en-US" altLang="nb-NO" smtClean="0"/>
              <a:pPr/>
              <a:t>12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6828178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25934E-B458-426D-85CE-299ED65472CA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01160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nb-NO" b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C824AB-2234-4C9F-8A72-8085958419BA}" type="slidenum">
              <a:rPr lang="en-US" altLang="nb-NO" smtClean="0"/>
              <a:pPr/>
              <a:t>16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451287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625013" y="239713"/>
            <a:ext cx="1912937" cy="11953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nb-NO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700">
                <a:solidFill>
                  <a:schemeClr val="tx1"/>
                </a:solidFill>
                <a:latin typeface="Calibri" pitchFamily="34" charset="0"/>
              </a:defRPr>
            </a:lvl1pPr>
            <a:lvl2pPr marL="742721" indent="-285662">
              <a:defRPr sz="1700">
                <a:solidFill>
                  <a:schemeClr val="tx1"/>
                </a:solidFill>
                <a:latin typeface="Calibri" pitchFamily="34" charset="0"/>
              </a:defRPr>
            </a:lvl2pPr>
            <a:lvl3pPr marL="1142648" indent="-228529">
              <a:defRPr sz="1700">
                <a:solidFill>
                  <a:schemeClr val="tx1"/>
                </a:solidFill>
                <a:latin typeface="Calibri" pitchFamily="34" charset="0"/>
              </a:defRPr>
            </a:lvl3pPr>
            <a:lvl4pPr marL="1599707" indent="-228529">
              <a:defRPr sz="1700">
                <a:solidFill>
                  <a:schemeClr val="tx1"/>
                </a:solidFill>
                <a:latin typeface="Calibri" pitchFamily="34" charset="0"/>
              </a:defRPr>
            </a:lvl4pPr>
            <a:lvl5pPr marL="2056767" indent="-228529">
              <a:defRPr sz="1700">
                <a:solidFill>
                  <a:schemeClr val="tx1"/>
                </a:solidFill>
                <a:latin typeface="Calibri" pitchFamily="34" charset="0"/>
              </a:defRPr>
            </a:lvl5pPr>
            <a:lvl6pPr marL="2513826" indent="-228529" defTabSz="847465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itchFamily="34" charset="0"/>
              </a:defRPr>
            </a:lvl6pPr>
            <a:lvl7pPr marL="2970885" indent="-228529" defTabSz="847465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itchFamily="34" charset="0"/>
              </a:defRPr>
            </a:lvl7pPr>
            <a:lvl8pPr marL="3427943" indent="-228529" defTabSz="847465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itchFamily="34" charset="0"/>
              </a:defRPr>
            </a:lvl8pPr>
            <a:lvl9pPr marL="3885003" indent="-228529" defTabSz="847465" fontAlgn="base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847465" fontAlgn="base">
              <a:spcBef>
                <a:spcPct val="0"/>
              </a:spcBef>
              <a:spcAft>
                <a:spcPct val="0"/>
              </a:spcAft>
              <a:defRPr/>
            </a:pPr>
            <a:fld id="{86F1EB2F-8737-460A-B440-606A11563A71}" type="slidenum">
              <a:rPr lang="en-US" altLang="nb-NO" sz="1200"/>
              <a:pPr defTabSz="847465"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altLang="nb-NO" sz="1200"/>
          </a:p>
        </p:txBody>
      </p:sp>
    </p:spTree>
    <p:extLst>
      <p:ext uri="{BB962C8B-B14F-4D97-AF65-F5344CB8AC3E}">
        <p14:creationId xmlns:p14="http://schemas.microsoft.com/office/powerpoint/2010/main" val="10470861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8963" y="469900"/>
            <a:ext cx="3757612" cy="2347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225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8963" y="469900"/>
            <a:ext cx="3757612" cy="2347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757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47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ED674D-CEB3-457E-923E-42BC668BC8BF}" type="slidenum">
              <a:rPr kumimoji="0" lang="en-US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r" defTabSz="8477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041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674D-CEB3-457E-923E-42BC668BC8BF}" type="slidenum">
              <a:rPr lang="en-US" altLang="nb-NO" smtClean="0"/>
              <a:pPr/>
              <a:t>6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0469473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C824AB-2234-4C9F-8A72-8085958419BA}" type="slidenum">
              <a:rPr lang="en-US" altLang="nb-NO" smtClean="0"/>
              <a:pPr/>
              <a:t>7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1205144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ED674D-CEB3-457E-923E-42BC668BC8BF}" type="slidenum">
              <a:rPr lang="en-US" altLang="nb-NO" smtClean="0"/>
              <a:pPr/>
              <a:t>8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4345908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C824AB-2234-4C9F-8A72-8085958419BA}" type="slidenum">
              <a:rPr lang="en-US" altLang="nb-NO" smtClean="0"/>
              <a:pPr/>
              <a:t>9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131358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C824AB-2234-4C9F-8A72-8085958419BA}" type="slidenum">
              <a:rPr lang="en-US" altLang="nb-NO" smtClean="0"/>
              <a:pPr/>
              <a:t>10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913441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3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5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4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5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6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7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7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8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9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9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0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1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1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1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3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3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3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4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4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4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4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5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6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6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6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6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7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7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7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8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9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9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9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1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52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3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4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4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4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4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5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5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5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5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5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5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6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6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6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6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7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7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7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9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9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9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9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9.xml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9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9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9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9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9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0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0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AC45CFA-ED6E-4BAB-9BC1-7B62677B4706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609845982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39C7DAC-A606-45F6-932A-2963B8F79C3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650795818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0764332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F5AB92C-72DC-4A15-81AF-ADC49E0A0A8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890856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 anchor="ctr"/>
          <a:lstStyle>
            <a:lvl1pPr algn="ctr"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2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4994351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 lang="nb-NO" sz="1800" kern="1200" dirty="0" err="1" smtClean="0">
                <a:solidFill>
                  <a:srgbClr val="616366"/>
                </a:solidFill>
                <a:latin typeface="Calibri"/>
                <a:ea typeface="+mn-ea"/>
                <a:cs typeface="Calibri"/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BF14356C-20D9-4895-AC63-E39CE3EC9F0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36599731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SzPct val="85000"/>
              <a:buFont typeface="Arial" panose="020B0604020202020204" pitchFamily="34" charset="0"/>
              <a:buChar char="•"/>
              <a:defRPr lang="nb-NO" sz="1800" kern="1200" dirty="0" err="1" smtClean="0">
                <a:solidFill>
                  <a:srgbClr val="555859"/>
                </a:solidFill>
                <a:latin typeface="Calibri"/>
                <a:ea typeface="+mn-ea"/>
                <a:cs typeface="Calibri"/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7407DB40-2308-4EDC-B777-07FAC77154B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51168656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317765"/>
            <a:ext cx="3970800" cy="3863283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4716463" y="1317628"/>
            <a:ext cx="3040062" cy="3863975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  <a:endParaRPr lang="nb-NO" noProof="0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2A017DEF-0129-40CA-91ED-BB6CA4D3FA3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341713033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317765"/>
            <a:ext cx="3970800" cy="3863283"/>
          </a:xfrm>
        </p:spPr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4716463" y="1317628"/>
            <a:ext cx="3040062" cy="3863975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  <a:endParaRPr lang="nb-NO" noProof="0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20BA4AD4-4A93-407F-97B1-B30FF8A1B0DF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841535385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malside uten lyssp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C07235B4-1169-4857-A825-D7FFA4ACF6DD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812460241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638B0E1C-F386-414C-A5FA-35EAEDEC905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757959075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B3214E66-8F65-4606-8AB9-DFF8BC89B30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891162621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22B7313-6682-46D5-9A06-0D3407E60CE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70646776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92BBA48A-B15D-4123-801A-2EA45B2BB2B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42970051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746"/>
            <a:ext cx="7020260" cy="461665"/>
          </a:xfrm>
        </p:spPr>
        <p:txBody>
          <a:bodyPr/>
          <a:lstStyle>
            <a:lvl1pPr algn="ctr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7996548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5566523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4800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64E250B-893A-46E6-8650-C88FEDCCE5F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11114694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592C40AB-2E4A-49E1-9EF0-5375EFA9A0D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78763380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6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A7B39602-D2F5-479F-91E4-84FB890160B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67943519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63C1E357-E56E-4AC3-8871-51BE888484E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18774435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4DEC046B-A136-4835-88BB-BA00AF55F70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232089317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9" y="2436244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427355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419457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498676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30" y="2465918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8" y="1351846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6423333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00D6426-A80E-4663-B469-178C32C20D8D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333616689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F147DD9B-B630-4D49-A533-3633A198FA2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826562126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BC96294-ACBD-47F2-832E-CDF8EB131D0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178047889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3EB1D67-BF22-42CE-934F-93E48B836B9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496586710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770321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1816652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7551403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8826500" y="5521325"/>
            <a:ext cx="3159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4572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9144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3716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8288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EBB39FF7-3B9A-4408-AB33-30AF9FEA8F82}" type="slidenum">
              <a:rPr lang="nb-NO" altLang="nn-NO" sz="800" b="1">
                <a:solidFill>
                  <a:srgbClr val="747474"/>
                </a:solidFill>
                <a:cs typeface="Calibri" panose="020F0502020204030204" pitchFamily="34" charset="0"/>
              </a:rPr>
              <a:pPr algn="ctr" eaLnBrk="1" hangingPunct="1"/>
              <a:t>‹#›</a:t>
            </a:fld>
            <a:endParaRPr lang="nb-NO" altLang="nn-NO" sz="800" b="1">
              <a:solidFill>
                <a:srgbClr val="747474"/>
              </a:solidFill>
              <a:cs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90" y="137586"/>
            <a:ext cx="8508023" cy="315000"/>
          </a:xfrm>
        </p:spPr>
        <p:txBody>
          <a:bodyPr/>
          <a:lstStyle>
            <a:lvl1pPr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17990" y="467422"/>
            <a:ext cx="8508023" cy="240000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rgbClr val="231464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17990" y="5520532"/>
            <a:ext cx="8508023" cy="194468"/>
          </a:xfrm>
        </p:spPr>
        <p:txBody>
          <a:bodyPr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700" i="1" baseline="0" dirty="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2123652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11E59F-F6A2-42F2-8DF7-763B06F362AC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78429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9470737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it_bakgr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med rundade hörn 5"/>
          <p:cNvSpPr/>
          <p:nvPr/>
        </p:nvSpPr>
        <p:spPr>
          <a:xfrm>
            <a:off x="0" y="822325"/>
            <a:ext cx="9144000" cy="438467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sv-SE" dirty="0">
              <a:solidFill>
                <a:srgbClr val="323232"/>
              </a:solidFill>
              <a:latin typeface="Calibri Light" panose="020F0302020204030204" pitchFamily="34" charset="0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-38100" y="811213"/>
            <a:ext cx="114300" cy="44021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sv-SE" dirty="0">
              <a:solidFill>
                <a:srgbClr val="323232"/>
              </a:solidFill>
              <a:latin typeface="Calibri Light" panose="020F0302020204030204" pitchFamily="34" charset="0"/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9080500" y="811213"/>
            <a:ext cx="114300" cy="44021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sv-SE" dirty="0">
              <a:solidFill>
                <a:srgbClr val="323232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7" name="Rak 10"/>
          <p:cNvCxnSpPr/>
          <p:nvPr/>
        </p:nvCxnSpPr>
        <p:spPr>
          <a:xfrm>
            <a:off x="4449763" y="5329238"/>
            <a:ext cx="244475" cy="0"/>
          </a:xfrm>
          <a:prstGeom prst="line">
            <a:avLst/>
          </a:prstGeom>
          <a:ln w="3175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ktangel med rundade hörn 11"/>
          <p:cNvSpPr/>
          <p:nvPr userDrawn="1"/>
        </p:nvSpPr>
        <p:spPr>
          <a:xfrm>
            <a:off x="0" y="822325"/>
            <a:ext cx="9144000" cy="438467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sv-SE" dirty="0">
              <a:solidFill>
                <a:srgbClr val="323232"/>
              </a:solidFill>
              <a:latin typeface="Calibri Light" panose="020F0302020204030204" pitchFamily="34" charset="0"/>
            </a:endParaRPr>
          </a:p>
        </p:txBody>
      </p:sp>
      <p:sp>
        <p:nvSpPr>
          <p:cNvPr id="9" name="Rektangel 8"/>
          <p:cNvSpPr/>
          <p:nvPr userDrawn="1"/>
        </p:nvSpPr>
        <p:spPr>
          <a:xfrm>
            <a:off x="-38100" y="811213"/>
            <a:ext cx="114300" cy="44021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sv-SE" dirty="0">
              <a:solidFill>
                <a:srgbClr val="323232"/>
              </a:solidFill>
              <a:latin typeface="Calibri Light" panose="020F0302020204030204" pitchFamily="34" charset="0"/>
            </a:endParaRPr>
          </a:p>
        </p:txBody>
      </p:sp>
      <p:sp>
        <p:nvSpPr>
          <p:cNvPr id="11" name="Rektangel 10"/>
          <p:cNvSpPr/>
          <p:nvPr userDrawn="1"/>
        </p:nvSpPr>
        <p:spPr>
          <a:xfrm>
            <a:off x="9080500" y="811213"/>
            <a:ext cx="114300" cy="44021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sv-SE" dirty="0">
              <a:solidFill>
                <a:srgbClr val="323232"/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12" name="Rak 14"/>
          <p:cNvCxnSpPr/>
          <p:nvPr userDrawn="1"/>
        </p:nvCxnSpPr>
        <p:spPr>
          <a:xfrm>
            <a:off x="4449763" y="5329238"/>
            <a:ext cx="244475" cy="0"/>
          </a:xfrm>
          <a:prstGeom prst="line">
            <a:avLst/>
          </a:prstGeom>
          <a:ln w="3175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/>
          </p:nvPr>
        </p:nvSpPr>
        <p:spPr>
          <a:xfrm>
            <a:off x="439739" y="508000"/>
            <a:ext cx="8264525" cy="2413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74C2C6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3" name="Platshållare för datum 2"/>
          <p:cNvSpPr>
            <a:spLocks noGrp="1"/>
          </p:cNvSpPr>
          <p:nvPr>
            <p:ph type="dt" sz="half" idx="14"/>
          </p:nvPr>
        </p:nvSpPr>
        <p:spPr>
          <a:xfrm>
            <a:off x="6570663" y="5297488"/>
            <a:ext cx="2133600" cy="3032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232"/>
                </a:solidFill>
                <a:latin typeface="Calibri Light" panose="020F0302020204030204" pitchFamily="34" charset="0"/>
                <a:cs typeface="Arial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4" name="Platshållare för sidfot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 Light" panose="020F0302020204030204" pitchFamily="34" charset="0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5" name="Platshållare för bildnummer 4"/>
          <p:cNvSpPr>
            <a:spLocks noGrp="1"/>
          </p:cNvSpPr>
          <p:nvPr>
            <p:ph type="sldNum" sz="quarter" idx="16"/>
          </p:nvPr>
        </p:nvSpPr>
        <p:spPr>
          <a:xfrm>
            <a:off x="3505200" y="5297488"/>
            <a:ext cx="2133600" cy="303212"/>
          </a:xfrm>
        </p:spPr>
        <p:txBody>
          <a:bodyPr/>
          <a:lstStyle>
            <a:lvl1pPr>
              <a:defRPr>
                <a:latin typeface="Calibri Light" panose="020F0302020204030204" pitchFamily="34" charset="0"/>
              </a:defRPr>
            </a:lvl1pPr>
          </a:lstStyle>
          <a:p>
            <a:fld id="{3AD0A55A-E860-40A0-9228-D19A1D13AE3D}" type="slidenum">
              <a:rPr lang="sv-SE" altLang="nb-NO"/>
              <a:pPr/>
              <a:t>‹#›</a:t>
            </a:fld>
            <a:endParaRPr lang="sv-SE" altLang="nb-NO"/>
          </a:p>
        </p:txBody>
      </p:sp>
    </p:spTree>
    <p:extLst>
      <p:ext uri="{BB962C8B-B14F-4D97-AF65-F5344CB8AC3E}">
        <p14:creationId xmlns:p14="http://schemas.microsoft.com/office/powerpoint/2010/main" val="22752747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7C2B0C4-ED38-4819-A58A-0D2A2B2CF43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01562451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4FF14B8-F0E5-4982-8067-26CBD7170CF6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889516446"/>
      </p:ext>
    </p:extLst>
  </p:cSld>
  <p:clrMapOvr>
    <a:masterClrMapping/>
  </p:clrMapOvr>
  <p:transition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88C1F0E-DB04-4296-84C6-9924C40B7C3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2878367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15AB4D0-EDF0-4522-8E24-809CBDB86AF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58689850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691601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1479741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905933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C6E6E9-EB66-413E-A929-D84F6F5229D9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86597704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2C83CE4-14E0-419D-88DA-19257A3F001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859977873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34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1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7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9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2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4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1367074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FB2DC95D-7CF0-474C-BAD3-A719681478E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54224346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2A42BA-41F7-4FD1-8C7B-9019F76C0CF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744100028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8DFF1F-E403-4B83-9D46-694507AB550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561074452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839321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6548086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28170927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B60233-6F8D-4331-A46A-0667273344F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64717062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A9120D-85CE-4ADF-984D-CACAE690E4E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848461825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7D0067F5-AF30-49A9-B6D3-59677D61723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10358101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F1A242C-5BCC-4598-9B91-2EFC1E58609E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8477171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tel, innhold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2"/>
          </p:nvPr>
        </p:nvSpPr>
        <p:spPr>
          <a:xfrm>
            <a:off x="4648200" y="1333502"/>
            <a:ext cx="4038600" cy="182165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3"/>
          </p:nvPr>
        </p:nvSpPr>
        <p:spPr>
          <a:xfrm>
            <a:off x="4648200" y="3282175"/>
            <a:ext cx="4038600" cy="182297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defTabSz="842374"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41375">
              <a:defRPr/>
            </a:lvl1pPr>
          </a:lstStyle>
          <a:p>
            <a:fld id="{D192DAA3-B69F-4E5E-B518-160F06A3033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7023009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24E0378-53DC-41C0-B710-22E2358AF2B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91965959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364128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5434149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0500679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5EA9890-407C-4D59-882F-10FF7FC782F0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170016086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F80310B-A6F7-46FF-9557-572B15A69D1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041602506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D4C563E-9905-46D4-A2C5-67870EB9EC4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338306399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47269BF-F55F-4EA3-987A-09248271636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4026966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635395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4807204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9E702C-8AA3-4630-A0DE-5AC7F52EB09C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77497990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34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1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7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9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2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4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3778614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C407FF-3157-4F3B-91EE-336F4AE4FBE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3507807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0F1716D-EC66-4955-AA53-C7871821161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15685806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3C3B5D7B-EA49-4429-9F9D-F2B2B35DC87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990319171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487D07D-57FC-4AE5-BCCF-6EB00F263F4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030666447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60578B38-F1C6-4AE9-B6B0-0623E79FE6A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22691407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379E810-09B7-4B5D-9F72-6133FA35E63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94857916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072ACB2-A048-4D3C-B82A-0EB6E27C717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462338458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B643B1D-E326-4BDB-B075-1794B94061DE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551146479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675D277-2F13-41F9-90C7-FDC397FC15B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56437271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3D6D90-CEED-407F-A42C-16E8EB28E28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52480776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4C3CFB-F4B0-4C5D-829C-2D5B1D9F82B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235844577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27426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1082668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34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1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7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9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2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4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10266064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65742F-EEAC-4CD3-947C-D008E5972C1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2097938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842374" fontAlgn="base">
              <a:spcBef>
                <a:spcPct val="0"/>
              </a:spcBef>
              <a:spcAft>
                <a:spcPct val="0"/>
              </a:spcAft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841375">
              <a:defRPr/>
            </a:lvl1pPr>
          </a:lstStyle>
          <a:p>
            <a:fld id="{F842D902-482D-44AE-B509-98428A354CF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843333183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A6986337-EA64-4233-BCD6-D908B77DE1A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728424717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7895D3CF-D88B-4563-B36E-37BDE21FA18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048255986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5C6553CE-9057-465F-890E-0F79AC7CA34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832891593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FA0A8F1D-B4E7-4825-BAFC-EB634D48418E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16157852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3E321E8-C054-4125-A59B-BDC7BF767A1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41249497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4D3A215B-E621-4101-BFA1-4926EF59968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159834480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B62A93C-9B44-40B4-8B83-FEBB20B2300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211012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2119139E-6897-4BD9-9E43-5C16FACE616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1793496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B06E52A-002A-42C6-81D6-597906819D9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1750148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92C520-40A9-456C-9B8E-6A3198C48E3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6255731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DD81C2A-D0BD-4FB6-A025-8A017BDAE8D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9738094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65216D92-B34B-4BA3-B04E-9CC65F43ACE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75286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AD4DC4E-4C31-4933-A81C-18B3F8E3563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98186426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6907838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FDB1581C-5827-425C-8145-AA77803586A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29347839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DC86EBE3-5BB3-4F87-B209-CBD7E4F826E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79290991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73CACAF1-BF79-460A-BC1C-BB581DF7908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6452618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0"/>
            <a:ext cx="9144000" cy="3132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4FF4B41B-E645-4418-B1FF-0405DD76B3D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2630078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656FFB0F-66BC-4A18-84D7-4A1842A9BB5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3334645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AFE710-0460-4A79-8429-886CB8036D8D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6838328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62F76C9-75EB-4825-97AF-77D8413AE9C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2411906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43BED2BA-1BFF-4072-8FE1-31F918292D9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1177308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1329422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8EA7AE59-EDEB-4492-A6B0-7311A873D1E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310617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0F7B271-31AB-416B-BE8E-3848BB9E6CB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8561210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B94FBDD1-F90C-4C30-812F-4B64447F35D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332121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457ADA0D-BF43-462F-95BC-2DAE603FB85F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10440313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B242D06-C83A-4034-802B-182222D9DF0D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378196750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79DC68-8267-4EBF-A38B-F74B2C40FF6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0298458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8629F929-0743-435B-BFFD-3A29F9A8880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5857895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32627774-4341-4B52-A1C9-467E6CE768A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9354313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C97D085-DB1C-4B63-A60E-1E9F8D756AF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7755709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1331973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A20249F-A873-49F3-9C34-C9E83ACE35D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41286323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F32E348-3110-4FB4-85AA-602AD4A5E260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424328819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A4A0ADA-10FC-4CD0-9A0A-C1378316974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845354753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2B2DCE3-0D15-4E1C-9DB5-9F1D8FFCE27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575171952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732104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DB88D3C-25BB-4D63-9A86-555BA0F8489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105256598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4947085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59839764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81A0857D-DA84-4C1A-8E69-787B00169D5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7035196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DF84FFC6-D433-4612-93AA-1C63F064ECD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8945153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C1C3A96-4D14-4555-AE9F-718FF98BF8BF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7933508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6035189-10F3-4122-AE66-AE4192CB722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6249639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853EC5C-4721-47B2-98F6-0E555EBB341C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222572"/>
      </p:ext>
    </p:extLst>
  </p:cSld>
  <p:clrMapOvr>
    <a:masterClrMapping/>
  </p:clrMapOvr>
  <p:transition spd="med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8A5087B3-D9C5-485E-8437-306B0165F39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3000101"/>
      </p:ext>
    </p:extLst>
  </p:cSld>
  <p:clrMapOvr>
    <a:masterClrMapping/>
  </p:clrMapOvr>
  <p:transition spd="med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F5567A3-9A93-4CB5-BB1A-AC0421CCDB6D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3697563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3849075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9355389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6B98BB1-B3C3-4114-9019-BB981CCA646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920050110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B2A64F79-7201-4CB5-BED7-84DBBC6ADED6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72509563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56A0105-7BB1-40F0-BF75-33233F7FBB0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50652404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75A1CCB9-6C1A-4091-A6E2-04BAE50076C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08808968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E7993C8-7627-468E-B817-B917D70D500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486254269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7631C81-869B-4ED0-8854-F5D8F26E5A5F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346535033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78366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8960747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38873005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55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28F114A-66F8-49F5-8AA4-D7B037F45F09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237026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222541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A565E6B-8D0E-4F86-BDD8-FC8B273CEA0C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8829008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E6762514-DA78-4D75-8D03-3D31F640C0E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23629277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9730D7B5-EBE0-4002-B7CA-15AC524E0FB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18137879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543F184-AD64-4DAD-9DDD-EA52172E4E7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4756605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D7F1A13B-627E-432A-AD72-261A32DDC1BB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56054126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57F82B0-D78F-4371-B225-C8C62AE124B9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607566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31DF04B-F55D-4A64-91B5-C6EDCEA5B71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11039258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FCEFE2D-D011-4566-8D3B-58346EB17A8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776749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E97C8DE-9EC5-464F-8A7A-741304F3819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4548863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4F402EE-DEE3-41DD-99F0-7E57EA49D26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4664648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4029306"/>
      </p:ext>
    </p:extLst>
  </p:cSld>
  <p:clrMapOvr>
    <a:masterClrMapping/>
  </p:clrMapOvr>
  <p:transition spd="med"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491133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53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659D3C3-6434-4A0D-8817-23AC20D5618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8747558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27B236D-94E2-4F8D-AB75-8584B2649CB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6098948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02FEB05-521F-4B2C-886E-81FF6843EB3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885525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C1D29AA-0915-4096-A223-F16778A9164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03694205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BAE11F75-5FF6-45F2-AA11-796F36D18F0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89681100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8CB60458-E03D-4E03-AD23-FE93B867AE8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08738622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572245B-5166-45B6-BEDB-BEA007AAF95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5791269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7E919A1-0BAB-4F5B-A44E-52AE3CFBFF9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2257389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05F4668-3484-4E77-8AB2-10B46D82C2B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375647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EB6DA5-6D24-4B51-B4F4-75706410CF6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38082293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BA290DF-EDF3-4EBC-8553-39830BA6D719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19352349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CB9AAD2-6E5D-45C0-9BA0-79BC8A6A122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05692556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384148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47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2C3A5D6-4663-436D-93A7-BC63E9601C0C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89217275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423B1EDC-BFE7-4D79-9FBB-2E6F60760F2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28482544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F5AA2E5-1F6B-464A-A6D7-541CC3B9B77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19949898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8F77FAD-B960-427A-AD89-7AC6419ACAB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86832020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AAD0ED0-6051-4494-8811-907D68B54AD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4372823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5ED35203-D14F-4882-8D30-A2D93A530A8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05010019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1D1C760-96AC-4B4F-8D00-3AC44CDE6FB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8119837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E7A66EB4-EC82-4C32-9398-F50859BE4AD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68808064"/>
      </p:ext>
    </p:extLst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94736DF-6D06-49E9-A605-81F897AABBF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05326378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A4ABC58-E5F2-45E0-A930-F40707F75C2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79783187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68EF1D9-5CFE-483B-97E0-D7E35061C4A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1499837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59D4AB4-BE43-4F8C-B5D1-94C119E32D8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5081634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205828"/>
      </p:ext>
    </p:extLst>
  </p:cSld>
  <p:clrMapOvr>
    <a:masterClrMapping/>
  </p:clrMapOvr>
  <p:transition spd="med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43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911FE3AF-DA15-4801-A0E2-A830982D219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14437905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E3BB31A1-84BE-4A59-A0B1-4F3CC2505CD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804597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D49E377-091B-4EF2-83EE-B42FDE7907B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8628109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36FCA7D-D396-4848-82B3-1F0E6BD266BB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8133700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48A4BF7-85E0-4A32-850B-A4AA109FF3FB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98957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8826500" y="5521325"/>
            <a:ext cx="3159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4572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9144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3716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8288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88E0040F-4266-408A-B523-080ADF6CBEDE}" type="slidenum">
              <a:rPr lang="nb-NO" altLang="nn-NO" sz="800" b="1">
                <a:solidFill>
                  <a:srgbClr val="747474"/>
                </a:solidFill>
                <a:cs typeface="Calibri" panose="020F0502020204030204" pitchFamily="34" charset="0"/>
              </a:rPr>
              <a:pPr algn="ctr" eaLnBrk="1" hangingPunct="1"/>
              <a:t>‹#›</a:t>
            </a:fld>
            <a:endParaRPr lang="nb-NO" altLang="nn-NO" sz="800" b="1">
              <a:solidFill>
                <a:srgbClr val="747474"/>
              </a:solidFill>
              <a:cs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90" y="137586"/>
            <a:ext cx="8508023" cy="315000"/>
          </a:xfrm>
        </p:spPr>
        <p:txBody>
          <a:bodyPr/>
          <a:lstStyle>
            <a:lvl1pPr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17990" y="467422"/>
            <a:ext cx="8508023" cy="240000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rgbClr val="231464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17990" y="5520532"/>
            <a:ext cx="8508023" cy="194468"/>
          </a:xfrm>
        </p:spPr>
        <p:txBody>
          <a:bodyPr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700" i="1" baseline="0" dirty="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7775436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CD90DF34-6D78-43D5-ABDB-557929DB840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63807955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B2382C3-D445-46D8-B66B-9C90DD704A6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84463265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93C9889-A6DB-4129-95C7-208FB2E7FEC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12574651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58862AB3-7D87-4A0E-869D-275C20CAB57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95125599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94E27496-D84F-4D5E-9D30-7F7353D1E1C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27172518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B4B4077E-A986-4661-929D-91D7BBE6EAF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73212302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975006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38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82AC793-294E-4DFF-ACEE-B99FB159DAD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54136265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44DCF1B0-0262-47D0-994E-4195A53ED13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04468751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BA2DFA11-1FEB-46BD-8C8B-DEE5B286E1C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0811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>
              <a:defRPr>
                <a:cs typeface="Arial" panose="020B0604020202020204" pitchFamily="34" charset="0"/>
              </a:defRPr>
            </a:lvl1pPr>
          </a:lstStyle>
          <a:p>
            <a:fld id="{2B62AFE2-3925-4A93-8FBB-10C5C1B6C3D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071034410"/>
      </p:ext>
    </p:extLst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A5AF6E7-259F-4D41-A3CB-C0068BB80C9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4626035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EEAE366-6490-4E15-9063-627340C72C0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91661412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9F328B7B-E900-4A52-8D4A-504FB7C14CB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00993389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65571BA-F8B9-4D1B-9805-A57CEA73F40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4665445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0F096C7-B3A1-4C97-A90B-15A97F56834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1531306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3A686B1-3A87-4656-9E8D-B4E62B7DCB0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7318393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C59CE91-0C02-47B8-8559-86B747237D0B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96082051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E75246F7-9ED0-43AA-87E4-F70BC1FB28E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579749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891721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33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E58A0666-3689-4017-9DC5-91577540129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474588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B0754FA-B0D5-4A75-BA65-14D9D13A5F2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377913021"/>
      </p:ext>
    </p:extLst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4B80272-3FE8-4D41-A5DD-E868DA4BA24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05325870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889DDC2-8D67-4E00-8733-5527E254D52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3333235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3D8C2BA-CE98-44FE-8CA8-4F9239074F0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72862683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F2E22FE-7172-4C97-B459-4D245CE6901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41861631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28033A13-AA3C-4B21-BB4C-7755890CC74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9561176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46312C7D-F59D-42E2-81C0-74CB63BA929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38768718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F3C655B-1418-477A-8522-4309EF1CD78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57556265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4DC668A-5EAA-45F3-94B2-06045BB2D88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95205977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ECEC8CF-769B-4D5A-A264-2856443B30EC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14622594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00A608E-9D59-468A-B6F3-A763BCBA7EE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4711317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2633A91-7719-474C-AF81-9BA2CBE881E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420956075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E84B844-B142-450C-9AE6-98DE5636474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056602686"/>
      </p:ext>
    </p:extLst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557844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27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5FCEF13-8327-403E-8A36-39D4BEA0CD5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61207803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3A27042-A2D1-4278-95C5-5BB1BC55EA4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2987788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2014FAC-3817-44A6-8AE6-69F8C04EB09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25525950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078B453-C307-401C-8383-D6EECAF8430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28060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BF9BD17F-2C18-4AB4-B286-D0260B87B6A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69322520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B6F22D19-368D-4076-9ABD-00B17B402D5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24179839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C0CD17F-9E7C-42C9-918C-63371E84BDF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38216271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8CEF7D1-C0C1-4B25-9E96-5ADD1B52D42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2427260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47CCC92-0AA0-41D0-9028-07D3E13B7D7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305800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C6F85D2-5F3E-47F1-972C-71A0D771A51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259091508"/>
      </p:ext>
    </p:extLst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1012D34-48BA-4141-B42D-F27359E32B8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12801929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0366922-C577-49DA-A712-CC9D42923CF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4775171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87818"/>
      </p:ext>
    </p:extLst>
  </p:cSld>
  <p:clrMapOvr>
    <a:masterClrMapping/>
  </p:clrMapOvr>
  <p:transition spd="med"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19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B8747D2-39C6-4F87-A454-B0A389B5A02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4346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60456A5-BE88-4C9B-9003-27481AB79A9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76810694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21241A8-F2B6-49F4-974E-AF06B6580EE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11604104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954681B3-2C98-45D6-974E-C5F85282423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546595672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0153615-E3BC-4649-8AE5-51C6F006A7C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79854156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0AD2ACE2-2DD4-45FD-B00D-959FACE2A4DB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5975566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5BB2A12-4BFD-4635-8DB1-62E9AE71BFA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8430938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A65C974-6A6C-4644-8908-7F25E8D89AA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133256298"/>
      </p:ext>
    </p:extLst>
  </p:cSld>
  <p:clrMapOvr>
    <a:masterClrMapping/>
  </p:clrMapOvr>
  <p:transition spd="med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5A1C2558-233D-45B8-88D1-CE5DAA01E73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29859531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81C3EE0-893E-4BE2-AFE7-C6C4BC772F6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61932991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29E51E9-35E9-485D-A117-E213D8B8166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87092244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48E62A1A-8519-4F18-BAB4-CB291919633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19437972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62938"/>
      </p:ext>
    </p:extLst>
  </p:cSld>
  <p:clrMapOvr>
    <a:masterClrMapping/>
  </p:clrMapOvr>
  <p:transition spd="med"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11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89F0B77-A4F7-42AA-87FE-686114964DB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07023921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51218640-2F1E-42FE-8BF6-FDA06FEE388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20592008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6F9FBEF-F7F1-435D-A9D1-06D7EFC90ED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22355800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9640A990-B8CE-4B73-B3FF-627D62E8638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71603726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57987CA7-FB8E-4EC7-8CC4-A75F5470F75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038358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969143"/>
      </p:ext>
    </p:extLst>
  </p:cSld>
  <p:clrMapOvr>
    <a:masterClrMapping/>
  </p:clrMapOvr>
  <p:transition spd="med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F1DDEC39-A73A-47E5-9140-1EC03BF843A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71815276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AAD4461-3D28-46F2-B2AA-A353864771D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86159993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79D1213-405C-42C8-93B3-DA247EB0E2C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65845179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C665F8C-7B3B-4EE0-948D-A50CA9FA19A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28399151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52207B6-EE8F-42F8-AAF2-D0823D8ED3F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98552679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5C90BF6E-62B1-4CC1-A574-1993BCBFD15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71527573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4686138"/>
      </p:ext>
    </p:extLst>
  </p:cSld>
  <p:clrMapOvr>
    <a:masterClrMapping/>
  </p:clrMapOvr>
  <p:transition spd="med"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402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1AA09D1-CDCA-4BEA-8243-1BF3DEAFDA8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02027159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A42EC1D-41AD-4ED7-8C5F-13F4B502BBF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3528229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4DB003A-C6D7-4A37-B7E3-4028BB8E02A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506943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3542964"/>
      </p:ext>
    </p:extLst>
  </p:cSld>
  <p:clrMapOvr>
    <a:masterClrMapping/>
  </p:clrMapOvr>
  <p:transition spd="med"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DC60B8B-6A3F-41BA-9721-8892002C35F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9245660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4C7E208C-8B40-4BB7-A2CC-0E668412A75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21882685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B191DCAC-A326-42F9-9F92-793478AF2A6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0554468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96C1AFE-AE02-4987-BE2E-320D38FCD77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76141784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0B59C22-F3AE-480A-B29B-5334E0EC344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66593537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C13D4A5-8EEB-451C-A13E-47C223A7211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2516375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27BF3E5-F8D6-4633-A54C-A0644ED6FA6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1123519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27EC179-87D0-49AE-82B0-19E6B911601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8351608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212158"/>
      </p:ext>
    </p:extLst>
  </p:cSld>
  <p:clrMapOvr>
    <a:masterClrMapping/>
  </p:clrMapOvr>
  <p:transition spd="med"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392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EBAAE675-FE5A-475E-BF6A-186F55665B3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0537677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70357805"/>
      </p:ext>
    </p:extLst>
  </p:cSld>
  <p:clrMapOvr>
    <a:masterClrMapping/>
  </p:clrMapOvr>
  <p:transition spd="med">
    <p:fad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CA44310-F24D-441E-90CF-BA7474E7011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64798402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3D28706-0E7F-478C-9712-35AE93A0E329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72547200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9578B134-105B-4BE7-97BF-C0B0055321F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60970688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E76B8A27-F708-4347-985E-6AAF194BE9B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6922515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7A7BF185-9DAD-4690-885E-CFD5A045227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6788849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E891366-CC7D-4973-9919-42FAA66087B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9523378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239D00B-1E8D-4BB4-AC6C-B2460AA60B9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88769114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D575C25-F42E-47EF-8AD4-D937BC6CBBA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61091183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B6891F5-0AB7-4CC9-85E5-0C17118B7B4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16550425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045BF28-0162-41E0-9B83-09C95FF34ED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9938687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B81C4D2-1FC7-4B3E-8500-D922321CE7E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979811509"/>
      </p:ext>
    </p:extLst>
  </p:cSld>
  <p:clrMapOvr>
    <a:masterClrMapping/>
  </p:clrMapOvr>
  <p:transition spd="med">
    <p:fade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913018"/>
      </p:ext>
    </p:extLst>
  </p:cSld>
  <p:clrMapOvr>
    <a:masterClrMapping/>
  </p:clrMapOvr>
  <p:transition spd="med">
    <p:fade/>
  </p:transition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381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813EBBA-F2D0-41CB-9A29-82868D919A2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5640880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A54F9A6-3EF2-4300-9304-6ED12930321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75963427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793283E-D9FF-459A-B81B-06CBF7136F2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75654196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A2D6AE6-E8A5-4744-9AA9-400C710978A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15123539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B1A648ED-F5A2-42EB-B349-B0F7803E968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21117834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D8DBA5CD-0259-4883-936A-85383B79683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46780421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58A92988-CB3E-4DF8-A9D4-198E58AF07D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37953001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E7024299-5186-4915-BBE1-105239CF580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43172459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9483F923-CB21-4D7A-B906-B80B87C9DB7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763734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8AFB8CA-FF43-4D55-BC0F-221BEC860EB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22199397"/>
      </p:ext>
    </p:extLst>
  </p:cSld>
  <p:clrMapOvr>
    <a:masterClrMapping/>
  </p:clrMapOvr>
  <p:transition spd="med"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D73E59E8-368E-40EF-B78D-FD1C8F2F277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40559415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3A9ECC9-74FC-4E04-A4A4-14A00A7E7CD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3587006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462636"/>
      </p:ext>
    </p:extLst>
  </p:cSld>
  <p:clrMapOvr>
    <a:masterClrMapping/>
  </p:clrMapOvr>
  <p:transition spd="med">
    <p:fad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7C20E944-6E91-49EF-A6AA-52E260C2109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6636889"/>
      </p:ext>
    </p:extLst>
  </p:cSld>
  <p:clrMapOvr>
    <a:masterClrMapping/>
  </p:clrMapOvr>
  <p:transition spd="med">
    <p:fade/>
  </p:transition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BDEF2821-6021-498F-904B-2CA15CBF2B0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7236934"/>
      </p:ext>
    </p:extLst>
  </p:cSld>
  <p:clrMapOvr>
    <a:masterClrMapping/>
  </p:clrMapOvr>
  <p:transition spd="med">
    <p:fad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F5B832D6-1E2C-4550-AFE5-2939231034A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15110020"/>
      </p:ext>
    </p:extLst>
  </p:cSld>
  <p:clrMapOvr>
    <a:masterClrMapping/>
  </p:clrMapOvr>
  <p:transition spd="med">
    <p:fade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6421DA-4DA4-43BB-B9C3-B5DB98B84DB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8400332"/>
      </p:ext>
    </p:extLst>
  </p:cSld>
  <p:clrMapOvr>
    <a:masterClrMapping/>
  </p:clrMapOvr>
  <p:transition spd="med">
    <p:fad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5DF13BC-439A-4920-99C6-B233E8BC650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467646"/>
      </p:ext>
    </p:extLst>
  </p:cSld>
  <p:clrMapOvr>
    <a:masterClrMapping/>
  </p:clrMapOvr>
  <p:transition spd="med">
    <p:fade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4BBA3D5C-4DE1-4C7E-B85E-555F32101ED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906858"/>
      </p:ext>
    </p:extLst>
  </p:cSld>
  <p:clrMapOvr>
    <a:masterClrMapping/>
  </p:clrMapOvr>
  <p:transition spd="med">
    <p:fade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32EA34-EFBD-4B67-881A-0418F15BAFF0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4832905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8F77B34-6802-47E7-B5F6-72097B56821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707361596"/>
      </p:ext>
    </p:extLst>
  </p:cSld>
  <p:clrMapOvr>
    <a:masterClrMapping/>
  </p:clrMapOvr>
  <p:transition spd="med"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1314044"/>
      </p:ext>
    </p:extLst>
  </p:cSld>
  <p:clrMapOvr>
    <a:masterClrMapping/>
  </p:clrMapOvr>
  <p:transition spd="med"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1AA5C24-F639-415E-ACDE-C7121FC2FD3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26628128"/>
      </p:ext>
    </p:extLst>
  </p:cSld>
  <p:clrMapOvr>
    <a:masterClrMapping/>
  </p:clrMapOvr>
  <p:transition spd="med">
    <p:fad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44395D32-D31B-4AF3-8009-AC04707AD02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857064719"/>
      </p:ext>
    </p:extLst>
  </p:cSld>
  <p:clrMapOvr>
    <a:masterClrMapping/>
  </p:clrMapOvr>
  <p:transition spd="med">
    <p:fade/>
  </p:transition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1421A0A2-B4A2-4EEC-88AD-D0F40AC0857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0282403"/>
      </p:ext>
    </p:extLst>
  </p:cSld>
  <p:clrMapOvr>
    <a:masterClrMapping/>
  </p:clrMapOvr>
  <p:transition spd="med">
    <p:fade/>
  </p:transition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190DF7CC-5D40-450A-9AE4-50DC37492FB0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1762581"/>
      </p:ext>
    </p:extLst>
  </p:cSld>
  <p:clrMapOvr>
    <a:masterClrMapping/>
  </p:clrMapOvr>
  <p:transition spd="med">
    <p:fade/>
  </p:transition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81619B9-3BD9-4A46-9AA8-B967C38FB15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5132988"/>
      </p:ext>
    </p:extLst>
  </p:cSld>
  <p:clrMapOvr>
    <a:masterClrMapping/>
  </p:clrMapOvr>
  <p:transition spd="med">
    <p:fade/>
  </p:transition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EB728F-775A-4AB1-B56F-B0ABA951FFBC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3845090"/>
      </p:ext>
    </p:extLst>
  </p:cSld>
  <p:clrMapOvr>
    <a:masterClrMapping/>
  </p:clrMapOvr>
  <p:transition spd="med">
    <p:fade/>
  </p:transition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78B8DBFB-8C55-4471-AB1A-AC471C50D522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6513859"/>
      </p:ext>
    </p:extLst>
  </p:cSld>
  <p:clrMapOvr>
    <a:masterClrMapping/>
  </p:clrMapOvr>
  <p:transition spd="med">
    <p:fade/>
  </p:transition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85EF5571-5C80-4753-AFA3-6409AE825E0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0407279"/>
      </p:ext>
    </p:extLst>
  </p:cSld>
  <p:clrMapOvr>
    <a:masterClrMapping/>
  </p:clrMapOvr>
  <p:transition spd="med">
    <p:fade/>
  </p:transition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A10A250-8460-46B4-BEDD-51B556050A3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623403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9E11B9B-11AA-4FA4-BC37-C5DB92E88D0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701559340"/>
      </p:ext>
    </p:extLst>
  </p:cSld>
  <p:clrMapOvr>
    <a:masterClrMapping/>
  </p:clrMapOvr>
  <p:transition spd="med"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2704265"/>
      </p:ext>
    </p:extLst>
  </p:cSld>
  <p:clrMapOvr>
    <a:masterClrMapping/>
  </p:clrMapOvr>
  <p:transition spd="med">
    <p:fade/>
  </p:transition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3DC4E4D-362F-4B60-9255-CF33ECEE103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000511262"/>
      </p:ext>
    </p:extLst>
  </p:cSld>
  <p:clrMapOvr>
    <a:masterClrMapping/>
  </p:clrMapOvr>
  <p:transition spd="med">
    <p:fade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368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74EBB85B-E87F-4185-94CC-6C17AA2B407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5596758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550A16F-DC47-405C-9515-56EAE31F12C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13968766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CC7ED70-F913-4240-8A8A-4A8AD703CFEC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145508110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C57DCC4-9DA9-419F-A916-1287C37037E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802937753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6ED036F-21CB-4139-A8B2-045ACE59B01C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31218623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BD67DD00-FEED-4165-A06D-B7D7685D266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8633470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69DFA6EA-0CEB-4DDB-8C4D-695246FE079B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52629237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FF97018C-3420-4058-A72A-BA90BAA8255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764454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807941C-DC12-47F9-9BA1-EFF2DBB0C7E4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02414699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842974"/>
      </p:ext>
    </p:extLst>
  </p:cSld>
  <p:clrMapOvr>
    <a:masterClrMapping/>
  </p:clrMapOvr>
  <p:transition spd="med">
    <p:fad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70DA494-C5E4-4227-8EFD-ECC6A2F4C8C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165070106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9B63D88-8B8A-40CE-9D96-D4CEE7A4530B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631732537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9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9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B81FD27-67CD-436C-945D-215F8E8C50B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188032294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390072"/>
            <a:ext cx="7020260" cy="553998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944785"/>
      </p:ext>
    </p:extLst>
  </p:cSld>
  <p:clrMapOvr>
    <a:masterClrMapping/>
  </p:clrMapOvr>
  <p:transition spd="med">
    <p:fade/>
  </p:transition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E898716F-BE88-40B9-A774-F8DEF9C271B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1523979"/>
      </p:ext>
    </p:extLst>
  </p:cSld>
  <p:clrMapOvr>
    <a:masterClrMapping/>
  </p:clrMapOvr>
  <p:transition spd="med">
    <p:fade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650045E8-4FB2-402B-BC46-302F57F8C64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2430906"/>
      </p:ext>
    </p:extLst>
  </p:cSld>
  <p:clrMapOvr>
    <a:masterClrMapping/>
  </p:clrMapOvr>
  <p:transition spd="med">
    <p:fade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23D61E33-2643-42DB-B85E-0EB5B99A442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0803099"/>
      </p:ext>
    </p:extLst>
  </p:cSld>
  <p:clrMapOvr>
    <a:masterClrMapping/>
  </p:clrMapOvr>
  <p:transition spd="med">
    <p:fade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89A5D54-0406-44A4-80B0-A891CBE3184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9913674"/>
      </p:ext>
    </p:extLst>
  </p:cSld>
  <p:clrMapOvr>
    <a:masterClrMapping/>
  </p:clrMapOvr>
  <p:transition spd="med">
    <p:fad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D68C2D5E-D91C-4D5C-B6DC-FCDDEEC1DEEF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09782926"/>
      </p:ext>
    </p:extLst>
  </p:cSld>
  <p:clrMapOvr>
    <a:masterClrMapping/>
  </p:clrMapOvr>
  <p:transition spd="med">
    <p:fade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D9633B43-4BE5-4B09-BA02-16E4EC19D80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0757353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9696358"/>
      </p:ext>
    </p:extLst>
  </p:cSld>
  <p:clrMapOvr>
    <a:masterClrMapping/>
  </p:clrMapOvr>
  <p:transition spd="med">
    <p:fad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E06F481-8786-446B-BA09-763C75A8733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1228393"/>
      </p:ext>
    </p:extLst>
  </p:cSld>
  <p:clrMapOvr>
    <a:masterClrMapping/>
  </p:clrMapOvr>
  <p:transition spd="med">
    <p:fade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9383332"/>
      </p:ext>
    </p:extLst>
  </p:cSld>
  <p:clrMapOvr>
    <a:masterClrMapping/>
  </p:clrMapOvr>
  <p:transition spd="med">
    <p:fade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FE03661C-E231-40F2-9464-382624426D5C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8732780"/>
      </p:ext>
    </p:extLst>
  </p:cSld>
  <p:clrMapOvr>
    <a:masterClrMapping/>
  </p:clrMapOvr>
  <p:transition spd="med">
    <p:fade/>
  </p:transition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51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102413"/>
      </p:ext>
    </p:extLst>
  </p:cSld>
  <p:clrMapOvr>
    <a:masterClrMapping/>
  </p:clrMapOvr>
  <p:transition spd="med">
    <p:fade/>
  </p:transition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innhold og halvside bil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572800"/>
          </a:xfrm>
          <a:noFill/>
        </p:spPr>
        <p:txBody>
          <a:bodyPr/>
          <a:lstStyle>
            <a:lvl1pPr algn="ctr">
              <a:defRPr/>
            </a:lvl1pPr>
          </a:lstStyle>
          <a:p>
            <a:pPr lvl="0"/>
            <a:endParaRPr lang="nb-NO" noProof="0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49EE074-6BCF-4943-A934-42F233E5BAA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4270997"/>
      </p:ext>
    </p:extLst>
  </p:cSld>
  <p:clrMapOvr>
    <a:masterClrMapping/>
  </p:clrMapOvr>
  <p:transition spd="med">
    <p:fade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innhold og halvside jent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55" r="41296" b="9685"/>
          <a:stretch>
            <a:fillRect/>
          </a:stretch>
        </p:blipFill>
        <p:spPr bwMode="auto">
          <a:xfrm>
            <a:off x="4572000" y="0"/>
            <a:ext cx="4572000" cy="557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1012F4-DCED-4463-A44F-5505FEEEED5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5765669"/>
      </p:ext>
    </p:extLst>
  </p:cSld>
  <p:clrMapOvr>
    <a:masterClrMapping/>
  </p:clrMapOvr>
  <p:transition spd="med"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8ECE805-1C9A-4C49-AFB4-E454FF1E755F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489475609"/>
      </p:ext>
    </p:extLst>
  </p:cSld>
  <p:clrMapOvr>
    <a:masterClrMapping/>
  </p:clrMapOvr>
  <p:transition spd="med">
    <p:fade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E1AA190-F2A8-438D-B6FA-BD3ED5295E0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582748122"/>
      </p:ext>
    </p:extLst>
  </p:cSld>
  <p:clrMapOvr>
    <a:masterClrMapping/>
  </p:clrMapOvr>
  <p:transition spd="med"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C3A443E-F4DD-4E4F-8F9C-E4CAE5701D7D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954634883"/>
      </p:ext>
    </p:extLst>
  </p:cSld>
  <p:clrMapOvr>
    <a:masterClrMapping/>
  </p:clrMapOvr>
  <p:transition spd="med">
    <p:fade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1DF548A-306C-441D-85E2-81D89F524EE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030576957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18143862"/>
      </p:ext>
    </p:extLst>
  </p:cSld>
  <p:clrMapOvr>
    <a:masterClrMapping/>
  </p:clrMapOvr>
  <p:transition spd="med">
    <p:fad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184455"/>
      </p:ext>
    </p:extLst>
  </p:cSld>
  <p:clrMapOvr>
    <a:masterClrMapping/>
  </p:clrMapOvr>
  <p:transition spd="med">
    <p:fade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4914740"/>
      </p:ext>
    </p:extLst>
  </p:cSld>
  <p:clrMapOvr>
    <a:masterClrMapping/>
  </p:clrMapOvr>
  <p:transition spd="med"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96156445"/>
      </p:ext>
    </p:extLst>
  </p:cSld>
  <p:clrMapOvr>
    <a:masterClrMapping/>
  </p:clrMapOvr>
  <p:transition spd="med">
    <p:fad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B503DF6-B03E-4461-980B-FB01225AABA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1283066"/>
      </p:ext>
    </p:extLst>
  </p:cSld>
  <p:clrMapOvr>
    <a:masterClrMapping/>
  </p:clrMapOvr>
  <p:transition spd="med">
    <p:fade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E201331A-3BCC-4BAB-82F2-FBFC3121915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5196900"/>
      </p:ext>
    </p:extLst>
  </p:cSld>
  <p:clrMapOvr>
    <a:masterClrMapping/>
  </p:clrMapOvr>
  <p:transition spd="med">
    <p:fad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49698F35-F59C-403F-90AD-87923383774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660084"/>
      </p:ext>
    </p:extLst>
  </p:cSld>
  <p:clrMapOvr>
    <a:masterClrMapping/>
  </p:clrMapOvr>
  <p:transition spd="med"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980759C-77ED-47C6-8509-AB5B2B4D339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80674827"/>
      </p:ext>
    </p:extLst>
  </p:cSld>
  <p:clrMapOvr>
    <a:masterClrMapping/>
  </p:clrMapOvr>
  <p:transition spd="med"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DA46E933-FF07-4093-B066-10F03C96981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5929719"/>
      </p:ext>
    </p:extLst>
  </p:cSld>
  <p:clrMapOvr>
    <a:masterClrMapping/>
  </p:clrMapOvr>
  <p:transition spd="med"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66428D20-1098-4612-BA08-36CBD9786AB0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7226642"/>
      </p:ext>
    </p:extLst>
  </p:cSld>
  <p:clrMapOvr>
    <a:masterClrMapping/>
  </p:clrMapOvr>
  <p:transition spd="med"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4AEF49-681F-40BA-8234-204F144C437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3642506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1AD2C4C-5479-44C4-9EF0-A58B34D4B1A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721939279"/>
      </p:ext>
    </p:extLst>
  </p:cSld>
  <p:clrMapOvr>
    <a:masterClrMapping/>
  </p:clrMapOvr>
  <p:transition spd="med">
    <p:fade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0444050"/>
      </p:ext>
    </p:extLst>
  </p:cSld>
  <p:clrMapOvr>
    <a:masterClrMapping/>
  </p:clrMapOvr>
  <p:transition spd="med">
    <p:fade/>
  </p:transition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8F2CE3A9-BF2D-438C-981A-0984A80252E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7485797"/>
      </p:ext>
    </p:extLst>
  </p:cSld>
  <p:clrMapOvr>
    <a:masterClrMapping/>
  </p:clrMapOvr>
  <p:transition spd="med">
    <p:fade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lutning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3164827"/>
      </p:ext>
    </p:extLst>
  </p:cSld>
  <p:clrMapOvr>
    <a:masterClrMapping/>
  </p:clrMapOvr>
  <p:transition spd="med">
    <p:fade/>
  </p:transition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51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984753"/>
      </p:ext>
    </p:extLst>
  </p:cSld>
  <p:clrMapOvr>
    <a:masterClrMapping/>
  </p:clrMapOvr>
  <p:transition spd="med">
    <p:fade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innhold og halvside bil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572800"/>
          </a:xfrm>
          <a:noFill/>
        </p:spPr>
        <p:txBody>
          <a:bodyPr/>
          <a:lstStyle>
            <a:lvl1pPr algn="ctr">
              <a:defRPr/>
            </a:lvl1pPr>
          </a:lstStyle>
          <a:p>
            <a:pPr lvl="0"/>
            <a:endParaRPr lang="nb-NO" noProof="0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7F61F0F-EAC6-4F1C-9B42-66E79E98250C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8023536"/>
      </p:ext>
    </p:extLst>
  </p:cSld>
  <p:clrMapOvr>
    <a:masterClrMapping/>
  </p:clrMapOvr>
  <p:transition spd="med">
    <p:fade/>
  </p:transition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874AE398-7829-4505-B7B4-A73E40EA393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5928917"/>
      </p:ext>
    </p:extLst>
  </p:cSld>
  <p:clrMapOvr>
    <a:masterClrMapping/>
  </p:clrMapOvr>
  <p:transition spd="med">
    <p:fade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0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6FBF9F55-4563-4864-A7F4-28C36B92005D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1797835"/>
      </p:ext>
    </p:extLst>
  </p:cSld>
  <p:clrMapOvr>
    <a:masterClrMapping/>
  </p:clrMapOvr>
  <p:transition spd="med">
    <p:fade/>
  </p:transition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C963DDDA-D776-4EF4-B704-6D912AE59B2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3187299"/>
      </p:ext>
    </p:extLst>
  </p:cSld>
  <p:clrMapOvr>
    <a:masterClrMapping/>
  </p:clrMapOvr>
  <p:transition spd="med">
    <p:fade/>
  </p:transition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C7FC327-7204-4595-B2A3-E6252CD91C1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4767556"/>
      </p:ext>
    </p:extLst>
  </p:cSld>
  <p:clrMapOvr>
    <a:masterClrMapping/>
  </p:clrMapOvr>
  <p:transition spd="med">
    <p:fade/>
  </p:transition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483D58A-B3E6-4A0D-A0EB-F2A991B2FE7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8611187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B4190B71-37B8-4104-B0DE-59F1BD85601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07064606"/>
      </p:ext>
    </p:extLst>
  </p:cSld>
  <p:clrMapOvr>
    <a:masterClrMapping/>
  </p:clrMapOvr>
  <p:transition spd="med">
    <p:fad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732C679F-CBFE-4316-A95A-B8431524AD30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7142232"/>
      </p:ext>
    </p:extLst>
  </p:cSld>
  <p:clrMapOvr>
    <a:masterClrMapping/>
  </p:clrMapOvr>
  <p:transition spd="med">
    <p:fade/>
  </p:transition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6B6D91-5010-45B9-AD6D-33337697522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914644"/>
      </p:ext>
    </p:extLst>
  </p:cSld>
  <p:clrMapOvr>
    <a:masterClrMapping/>
  </p:clrMapOvr>
  <p:transition spd="med">
    <p:fade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804013"/>
      </p:ext>
    </p:extLst>
  </p:cSld>
  <p:clrMapOvr>
    <a:masterClrMapping/>
  </p:clrMapOvr>
  <p:transition spd="med">
    <p:fade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4E8583E4-FA2C-4EF2-9A7C-FEA2C19C5FC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9733137"/>
      </p:ext>
    </p:extLst>
  </p:cSld>
  <p:clrMapOvr>
    <a:masterClrMapping/>
  </p:clrMapOvr>
  <p:transition spd="med">
    <p:fad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DC5CB28-AF9D-47BB-91C1-9C4CB990958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095655123"/>
      </p:ext>
    </p:extLst>
  </p:cSld>
  <p:clrMapOvr>
    <a:masterClrMapping/>
  </p:clrMapOvr>
  <p:transition spd="med">
    <p:fade/>
  </p:transition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lutning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2867580"/>
      </p:ext>
    </p:extLst>
  </p:cSld>
  <p:clrMapOvr>
    <a:masterClrMapping/>
  </p:clrMapOvr>
  <p:transition spd="med">
    <p:fade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51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509349"/>
      </p:ext>
    </p:extLst>
  </p:cSld>
  <p:clrMapOvr>
    <a:masterClrMapping/>
  </p:clrMapOvr>
  <p:transition spd="med">
    <p:fade/>
  </p:transition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2"/>
          </p:nvPr>
        </p:nvSpPr>
        <p:spPr>
          <a:xfrm>
            <a:off x="4788024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323854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A057FF06-EAC1-4DCE-9EC7-365218582F3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847663"/>
      </p:ext>
    </p:extLst>
  </p:cSld>
  <p:clrMapOvr>
    <a:masterClrMapping/>
  </p:clrMapOvr>
  <p:transition spd="med">
    <p:fade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 uten strip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3854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6EA82C8-70C7-49CC-AA3E-EAF69FC7508D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7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5608735"/>
      </p:ext>
    </p:extLst>
  </p:cSld>
  <p:clrMapOvr>
    <a:masterClrMapping/>
  </p:clrMapOvr>
  <p:transition spd="med">
    <p:fade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innhold og halvside bil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572800"/>
          </a:xfrm>
          <a:noFill/>
        </p:spPr>
        <p:txBody>
          <a:bodyPr/>
          <a:lstStyle>
            <a:lvl1pPr algn="ctr">
              <a:defRPr/>
            </a:lvl1pPr>
          </a:lstStyle>
          <a:p>
            <a:pPr lvl="0"/>
            <a:endParaRPr lang="nb-NO" noProof="0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EEFF5E4-FD94-4AB3-8640-80B50B349142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1305827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9E8C9BE-598D-4802-A459-C3B5658E3D26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330570220"/>
      </p:ext>
    </p:extLst>
  </p:cSld>
  <p:clrMapOvr>
    <a:masterClrMapping/>
  </p:clrMapOvr>
  <p:transition spd="med">
    <p:fad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12BEA319-632D-4336-8842-9A4FDB69F0C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63019404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2D1A502C-C13B-4F7C-8FF3-9929965C5FA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509287910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4509C00A-83A8-4C51-B9F1-234EE6A0154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6746388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3ED62D56-FFF6-42D0-8551-97AF16B9000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166416558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CEA78FC2-624B-49A9-B6E0-4E88DFDFBBF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501664711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 defTabSz="847725">
              <a:defRPr/>
            </a:lvl1pPr>
          </a:lstStyle>
          <a:p>
            <a:fld id="{3AB87E7D-F5E3-4553-A221-021DC02A078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91252479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A0EB25CB-1326-4B62-98AC-43F26EFF902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911385791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870F539C-2556-4179-9B08-76F7231E55B3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546445181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4D65D708-65E9-4B35-A3F1-E7F7168D40E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863309745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5BDB60C8-5BB5-494C-8D0B-0375F969B72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950705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CF1597B-404C-4BAF-B9FF-9E7D94CAD39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94513205"/>
      </p:ext>
    </p:extLst>
  </p:cSld>
  <p:clrMapOvr>
    <a:masterClrMapping/>
  </p:clrMapOvr>
  <p:transition spd="med">
    <p:fad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5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5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847725"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847725">
              <a:defRPr/>
            </a:lvl1pPr>
          </a:lstStyle>
          <a:p>
            <a:fld id="{0AA44903-4BA2-441E-9CA0-1832FD7DD6B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287430499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147092B0-2CC1-4CF2-B74E-C5BBE4CCFC4C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653746"/>
      </p:ext>
    </p:extLst>
  </p:cSld>
  <p:clrMapOvr>
    <a:masterClrMapping/>
  </p:clrMapOvr>
  <p:transition spd="med">
    <p:fad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D1E3F759-3A08-4FBE-BE58-31E36F64D0E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9778653"/>
      </p:ext>
    </p:extLst>
  </p:cSld>
  <p:clrMapOvr>
    <a:masterClrMapping/>
  </p:clrMapOvr>
  <p:transition spd="med">
    <p:fad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4FB52AB4-4C9E-41D9-B5A0-30F8F750976D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7320238"/>
      </p:ext>
    </p:extLst>
  </p:cSld>
  <p:clrMapOvr>
    <a:masterClrMapping/>
  </p:clrMapOvr>
  <p:transition spd="med">
    <p:fad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AA41DAB-979E-483A-8F8B-659AF8738C3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8851961"/>
      </p:ext>
    </p:extLst>
  </p:cSld>
  <p:clrMapOvr>
    <a:masterClrMapping/>
  </p:clrMapOvr>
  <p:transition spd="med">
    <p:fade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378985BC-0CA5-4814-AC59-A2C22A83A26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2165624"/>
      </p:ext>
    </p:extLst>
  </p:cSld>
  <p:clrMapOvr>
    <a:masterClrMapping/>
  </p:clrMapOvr>
  <p:transition spd="med">
    <p:fad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A8D86C35-C733-4E9F-98B8-0FD5AF56E82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7878472"/>
      </p:ext>
    </p:extLst>
  </p:cSld>
  <p:clrMapOvr>
    <a:masterClrMapping/>
  </p:clrMapOvr>
  <p:transition spd="med">
    <p:fad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00F234-3B49-49D4-A2FC-68FA3C05194F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8668811"/>
      </p:ext>
    </p:extLst>
  </p:cSld>
  <p:clrMapOvr>
    <a:masterClrMapping/>
  </p:clrMapOvr>
  <p:transition spd="med"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110340"/>
      </p:ext>
    </p:extLst>
  </p:cSld>
  <p:clrMapOvr>
    <a:masterClrMapping/>
  </p:clrMapOvr>
  <p:transition spd="med"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14AFBE7D-5D2D-40B7-AB76-2A7B8E8A90F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64302624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806614"/>
      </p:ext>
    </p:extLst>
  </p:cSld>
  <p:clrMapOvr>
    <a:masterClrMapping/>
  </p:clrMapOvr>
  <p:transition spd="med">
    <p:fade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48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7BA33D60-FEE0-4596-BE0B-FA1C43AC256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05402783"/>
      </p:ext>
    </p:extLst>
  </p:cSld>
  <p:clrMapOvr>
    <a:masterClrMapping/>
  </p:clrMapOvr>
  <p:transition spd="med">
    <p:fade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lutning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8865336"/>
      </p:ext>
    </p:extLst>
  </p:cSld>
  <p:clrMapOvr>
    <a:masterClrMapping/>
  </p:clrMapOvr>
  <p:transition spd="med">
    <p:fade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844740"/>
      </p:ext>
    </p:extLst>
  </p:cSld>
  <p:clrMapOvr>
    <a:masterClrMapping/>
  </p:clrMapOvr>
  <p:transition spd="med">
    <p:fade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2"/>
          </p:nvPr>
        </p:nvSpPr>
        <p:spPr>
          <a:xfrm>
            <a:off x="4788024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D6670191-1976-4689-BE1A-92BCDD8A5EB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0599141"/>
      </p:ext>
    </p:extLst>
  </p:cSld>
  <p:clrMapOvr>
    <a:masterClrMapping/>
  </p:clrMapOvr>
  <p:transition spd="med"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 uten strip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F580538-5F18-49F4-B97E-0B803A55E84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7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27061259"/>
      </p:ext>
    </p:extLst>
  </p:cSld>
  <p:clrMapOvr>
    <a:masterClrMapping/>
  </p:clrMapOvr>
  <p:transition spd="med"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innhold og halvside bil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572800"/>
          </a:xfrm>
          <a:noFill/>
        </p:spPr>
        <p:txBody>
          <a:bodyPr/>
          <a:lstStyle>
            <a:lvl1pPr algn="ctr">
              <a:defRPr/>
            </a:lvl1pPr>
          </a:lstStyle>
          <a:p>
            <a:pPr lvl="0"/>
            <a:endParaRPr lang="nb-NO" noProof="0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EE11D78-C99F-4067-9709-A6E58848EF6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07659419"/>
      </p:ext>
    </p:extLst>
  </p:cSld>
  <p:clrMapOvr>
    <a:masterClrMapping/>
  </p:clrMapOvr>
  <p:transition spd="med"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676502D5-0ABC-488D-B6AF-362B8812B6A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0518140"/>
      </p:ext>
    </p:extLst>
  </p:cSld>
  <p:clrMapOvr>
    <a:masterClrMapping/>
  </p:clrMapOvr>
  <p:transition spd="med"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E207692-4D4A-4FE5-9635-E18AFCFFEDE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3737715"/>
      </p:ext>
    </p:extLst>
  </p:cSld>
  <p:clrMapOvr>
    <a:masterClrMapping/>
  </p:clrMapOvr>
  <p:transition spd="med"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0D25DC55-0187-4E29-8B56-2904C1027D5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1836097"/>
      </p:ext>
    </p:extLst>
  </p:cSld>
  <p:clrMapOvr>
    <a:masterClrMapping/>
  </p:clrMapOvr>
  <p:transition spd="med"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8D5675E-C080-4631-8422-579915381E3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3521901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8563223"/>
      </p:ext>
    </p:extLst>
  </p:cSld>
  <p:clrMapOvr>
    <a:masterClrMapping/>
  </p:clrMapOvr>
  <p:transition spd="med">
    <p:fade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D55FF822-4CFB-4DBF-8262-4C5950285E5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0137683"/>
      </p:ext>
    </p:extLst>
  </p:cSld>
  <p:clrMapOvr>
    <a:masterClrMapping/>
  </p:clrMapOvr>
  <p:transition spd="med">
    <p:fade/>
  </p:transition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78C1E67D-CF55-42FE-966C-33FBF0E58B5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63291337"/>
      </p:ext>
    </p:extLst>
  </p:cSld>
  <p:clrMapOvr>
    <a:masterClrMapping/>
  </p:clrMapOvr>
  <p:transition spd="med"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DB1D1A3-07F2-4D2C-B4C6-3EDB09AF8CD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136372"/>
      </p:ext>
    </p:extLst>
  </p:cSld>
  <p:clrMapOvr>
    <a:masterClrMapping/>
  </p:clrMapOvr>
  <p:transition spd="med">
    <p:fade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1203676"/>
      </p:ext>
    </p:extLst>
  </p:cSld>
  <p:clrMapOvr>
    <a:masterClrMapping/>
  </p:clrMapOvr>
  <p:transition spd="med">
    <p:fade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54D5178A-8B90-490C-BB2C-09BDEE43F27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0597539"/>
      </p:ext>
    </p:extLst>
  </p:cSld>
  <p:clrMapOvr>
    <a:masterClrMapping/>
  </p:clrMapOvr>
  <p:transition spd="med">
    <p:fade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91771"/>
      </p:ext>
    </p:extLst>
  </p:cSld>
  <p:clrMapOvr>
    <a:masterClrMapping/>
  </p:clrMapOvr>
  <p:transition spd="med">
    <p:fade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769124CE-E583-4486-A2A2-E886B86A824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9503837"/>
      </p:ext>
    </p:extLst>
  </p:cSld>
  <p:clrMapOvr>
    <a:masterClrMapping/>
  </p:clrMapOvr>
  <p:transition spd="med"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0"/>
            <a:ext cx="9144000" cy="3132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005EE501-78AC-4568-9D8A-424FF3B9EED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05694015"/>
      </p:ext>
    </p:extLst>
  </p:cSld>
  <p:clrMapOvr>
    <a:masterClrMapping/>
  </p:clrMapOvr>
  <p:transition spd="med">
    <p:fad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B5F18F5D-3974-45AC-9892-B0FCDB4CA26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839371"/>
      </p:ext>
    </p:extLst>
  </p:cSld>
  <p:clrMapOvr>
    <a:masterClrMapping/>
  </p:clrMapOvr>
  <p:transition spd="med"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0CAEF59-1E23-4D69-BD3E-687E02F6DD3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6655626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63941786"/>
      </p:ext>
    </p:extLst>
  </p:cSld>
  <p:clrMapOvr>
    <a:masterClrMapping/>
  </p:clrMapOvr>
  <p:transition spd="med">
    <p:fade/>
  </p:transition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5B8CF2CA-B691-492A-8A2E-4291FFC09336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0661825"/>
      </p:ext>
    </p:extLst>
  </p:cSld>
  <p:clrMapOvr>
    <a:masterClrMapping/>
  </p:clrMapOvr>
  <p:transition spd="med"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21B4EA1D-8EDC-492E-8887-D47A6CD64C3D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2336529"/>
      </p:ext>
    </p:extLst>
  </p:cSld>
  <p:clrMapOvr>
    <a:masterClrMapping/>
  </p:clrMapOvr>
  <p:transition spd="med">
    <p:fade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0138663"/>
      </p:ext>
    </p:extLst>
  </p:cSld>
  <p:clrMapOvr>
    <a:masterClrMapping/>
  </p:clrMapOvr>
  <p:transition spd="med">
    <p:fade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8B963722-B8AF-4BB2-AA84-8B8B8075BE7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079090"/>
      </p:ext>
    </p:extLst>
  </p:cSld>
  <p:clrMapOvr>
    <a:masterClrMapping/>
  </p:clrMapOvr>
  <p:transition spd="med">
    <p:fad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BEAF38E-5148-49C4-ABCF-5E9D4FC079D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8421685"/>
      </p:ext>
    </p:extLst>
  </p:cSld>
  <p:clrMapOvr>
    <a:masterClrMapping/>
  </p:clrMapOvr>
  <p:transition spd="med">
    <p:fade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77318EC-D88D-442B-8AD7-B1F3051E338F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8666080"/>
      </p:ext>
    </p:extLst>
  </p:cSld>
  <p:clrMapOvr>
    <a:masterClrMapping/>
  </p:clrMapOvr>
  <p:transition spd="med">
    <p:fad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BD2B1C6-6AA8-4051-89DD-4B4B1154FAA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8892589"/>
      </p:ext>
    </p:extLst>
  </p:cSld>
  <p:clrMapOvr>
    <a:masterClrMapping/>
  </p:clrMapOvr>
  <p:transition spd="med">
    <p:fad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4BC6C1B-279C-4FA4-800C-B6F7BB9B63BD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3854267"/>
      </p:ext>
    </p:extLst>
  </p:cSld>
  <p:clrMapOvr>
    <a:masterClrMapping/>
  </p:clrMapOvr>
  <p:transition spd="med"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/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9B525367-164D-4C26-8C35-0C686E798B45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1260859"/>
      </p:ext>
    </p:extLst>
  </p:cSld>
  <p:clrMapOvr>
    <a:masterClrMapping/>
  </p:clrMapOvr>
  <p:transition spd="med">
    <p:fad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/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844BB7E5-2B76-489C-8AD0-8E4A67197B1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0472398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0641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4099D7-6EA9-4480-B982-383E04BC70F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44854012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5D7B632-1165-4978-9CF8-334289384B8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8600824"/>
      </p:ext>
    </p:extLst>
  </p:cSld>
  <p:clrMapOvr>
    <a:masterClrMapping/>
  </p:clrMapOvr>
  <p:transition spd="med">
    <p:fad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305787"/>
      </p:ext>
    </p:extLst>
  </p:cSld>
  <p:clrMapOvr>
    <a:masterClrMapping/>
  </p:clrMapOvr>
  <p:transition spd="med">
    <p:fad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F604E26-5AA8-400E-A24F-3CE247934A5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47671595"/>
      </p:ext>
    </p:extLst>
  </p:cSld>
  <p:clrMapOvr>
    <a:masterClrMapping/>
  </p:clrMapOvr>
  <p:transition spd="med">
    <p:fad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7B64B00-2F47-4104-9FC9-0C5808CE079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173849133"/>
      </p:ext>
    </p:extLst>
  </p:cSld>
  <p:clrMapOvr>
    <a:masterClrMapping/>
  </p:clrMapOvr>
  <p:transition spd="med">
    <p:fade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48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F059315-9E76-474D-8F43-A0A558E8827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207136852"/>
      </p:ext>
    </p:extLst>
  </p:cSld>
  <p:clrMapOvr>
    <a:masterClrMapping/>
  </p:clrMapOvr>
  <p:transition spd="med">
    <p:fade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A05E9F9-43B5-410C-9C49-FCDAB0D3879F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80560768"/>
      </p:ext>
    </p:extLst>
  </p:cSld>
  <p:clrMapOvr>
    <a:masterClrMapping/>
  </p:clrMapOvr>
  <p:transition spd="med">
    <p:fade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78E2115-03C0-45CF-A099-8773E75CEC2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993329467"/>
      </p:ext>
    </p:extLst>
  </p:cSld>
  <p:clrMapOvr>
    <a:masterClrMapping/>
  </p:clrMapOvr>
  <p:transition spd="med">
    <p:fad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7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393626"/>
      </p:ext>
    </p:extLst>
  </p:cSld>
  <p:clrMapOvr>
    <a:masterClrMapping/>
  </p:clrMapOvr>
  <p:transition spd="med">
    <p:fade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9025195"/>
      </p:ext>
    </p:extLst>
  </p:cSld>
  <p:clrMapOvr>
    <a:masterClrMapping/>
  </p:clrMapOvr>
  <p:transition spd="med">
    <p:fade/>
  </p:transition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0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3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0610374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BCD228F-EEEF-4706-A8A1-E00FC0A45A2D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21090040"/>
      </p:ext>
    </p:extLst>
  </p:cSld>
  <p:clrMapOvr>
    <a:masterClrMapping/>
  </p:clrMapOvr>
  <p:transition spd="med">
    <p:fade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295E51-6E3C-4C15-A602-1CC8CE107EA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53867759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B920808-5FD3-4FB3-949A-D0B6276A4DB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890992443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3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1pPr>
            <a:lvl2pPr marL="38098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7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5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3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2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0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89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878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E1B4E60-13A2-46D0-9DA8-285F34F44ED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031464407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372FBA-8ED6-4406-AEE5-9FA0DD1F72DD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945051166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0D52AF-7B11-4CAD-9281-C672D2443AB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701406297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0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C3D49698-8582-4F56-A0B6-2954A6B1968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10074771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6218D5-2C49-4C66-926C-FB32B32D706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7114824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1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2667"/>
            </a:lvl1pPr>
            <a:lvl2pPr>
              <a:defRPr sz="2333"/>
            </a:lvl2pPr>
            <a:lvl3pPr>
              <a:defRPr sz="2000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167"/>
            </a:lvl1pPr>
            <a:lvl2pPr marL="380985" indent="0">
              <a:buNone/>
              <a:defRPr sz="1000"/>
            </a:lvl2pPr>
            <a:lvl3pPr marL="761970" indent="0">
              <a:buNone/>
              <a:defRPr sz="833"/>
            </a:lvl3pPr>
            <a:lvl4pPr marL="1142954" indent="0">
              <a:buNone/>
              <a:defRPr sz="750"/>
            </a:lvl4pPr>
            <a:lvl5pPr marL="1523939" indent="0">
              <a:buNone/>
              <a:defRPr sz="750"/>
            </a:lvl5pPr>
            <a:lvl6pPr marL="1904924" indent="0">
              <a:buNone/>
              <a:defRPr sz="750"/>
            </a:lvl6pPr>
            <a:lvl7pPr marL="2285909" indent="0">
              <a:buNone/>
              <a:defRPr sz="750"/>
            </a:lvl7pPr>
            <a:lvl8pPr marL="2666893" indent="0">
              <a:buNone/>
              <a:defRPr sz="750"/>
            </a:lvl8pPr>
            <a:lvl9pPr marL="3047878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8796FF-69A3-4CA8-B671-937444A2940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146836043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1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2667"/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167"/>
            </a:lvl1pPr>
            <a:lvl2pPr marL="380985" indent="0">
              <a:buNone/>
              <a:defRPr sz="1000"/>
            </a:lvl2pPr>
            <a:lvl3pPr marL="761970" indent="0">
              <a:buNone/>
              <a:defRPr sz="833"/>
            </a:lvl3pPr>
            <a:lvl4pPr marL="1142954" indent="0">
              <a:buNone/>
              <a:defRPr sz="750"/>
            </a:lvl4pPr>
            <a:lvl5pPr marL="1523939" indent="0">
              <a:buNone/>
              <a:defRPr sz="750"/>
            </a:lvl5pPr>
            <a:lvl6pPr marL="1904924" indent="0">
              <a:buNone/>
              <a:defRPr sz="750"/>
            </a:lvl6pPr>
            <a:lvl7pPr marL="2285909" indent="0">
              <a:buNone/>
              <a:defRPr sz="750"/>
            </a:lvl7pPr>
            <a:lvl8pPr marL="2666893" indent="0">
              <a:buNone/>
              <a:defRPr sz="750"/>
            </a:lvl8pPr>
            <a:lvl9pPr marL="3047878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01C84B-8B4D-487A-AFD9-2915268E424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4143797972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492866-C6B3-4155-94F6-78BDBF33AF8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0912247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22CD5572-6546-461A-9C27-A5F8F5B87DA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49377284"/>
      </p:ext>
    </p:extLst>
  </p:cSld>
  <p:clrMapOvr>
    <a:masterClrMapping/>
  </p:clrMapOvr>
  <p:transition spd="med">
    <p:fade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5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5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7F8CA9-DED5-4AB7-92E5-B9B1B550D2CE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801981999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33DC0A-1C72-4341-A04A-A497FC6C476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212123768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4145A25-2109-4A89-BAA6-8598FCC81614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027642518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3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1667">
                <a:solidFill>
                  <a:schemeClr val="tx1">
                    <a:tint val="75000"/>
                  </a:schemeClr>
                </a:solidFill>
              </a:defRPr>
            </a:lvl1pPr>
            <a:lvl2pPr marL="38098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6197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3pPr>
            <a:lvl4pPr marL="114295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4pPr>
            <a:lvl5pPr marL="152393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5pPr>
            <a:lvl6pPr marL="1904924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6pPr>
            <a:lvl7pPr marL="2285909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7pPr>
            <a:lvl8pPr marL="2666893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8pPr>
            <a:lvl9pPr marL="3047878" indent="0">
              <a:buNone/>
              <a:defRPr sz="11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57A0C2-2F0D-4BC4-89CF-2CA3A8FB9E9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670853624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333"/>
            </a:lvl1pPr>
            <a:lvl2pPr>
              <a:defRPr sz="2000"/>
            </a:lvl2pPr>
            <a:lvl3pPr>
              <a:defRPr sz="1667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4E6455-E20C-4286-A1AA-1ACEF05E61D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98354025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000"/>
            </a:lvl1pPr>
            <a:lvl2pPr>
              <a:defRPr sz="1667"/>
            </a:lvl2pPr>
            <a:lvl3pPr>
              <a:defRPr sz="15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DA223E-E19A-4CD4-A78A-2E7D007DF2EF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44020160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tatusrapport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150" y="5138738"/>
            <a:ext cx="1093788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1520" y="228865"/>
            <a:ext cx="8435280" cy="348382"/>
          </a:xfrm>
        </p:spPr>
        <p:txBody>
          <a:bodyPr>
            <a:normAutofit/>
          </a:bodyPr>
          <a:lstStyle>
            <a:lvl1pPr algn="l">
              <a:defRPr sz="2000"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>
          <a:xfrm>
            <a:off x="3059113" y="5395913"/>
            <a:ext cx="2133600" cy="304800"/>
          </a:xfrm>
        </p:spPr>
        <p:txBody>
          <a:bodyPr/>
          <a:lstStyle>
            <a:lvl1pPr>
              <a:defRPr/>
            </a:lvl1pPr>
          </a:lstStyle>
          <a:p>
            <a:fld id="{A2C47504-607E-4233-83FD-372927CE5506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598314993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27838A-E1B6-4CD8-81E4-81CE6B64F037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39991234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1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2667"/>
            </a:lvl1pPr>
            <a:lvl2pPr>
              <a:defRPr sz="2333"/>
            </a:lvl2pPr>
            <a:lvl3pPr>
              <a:defRPr sz="2000"/>
            </a:lvl3pPr>
            <a:lvl4pPr>
              <a:defRPr sz="1667"/>
            </a:lvl4pPr>
            <a:lvl5pPr>
              <a:defRPr sz="1667"/>
            </a:lvl5pPr>
            <a:lvl6pPr>
              <a:defRPr sz="1667"/>
            </a:lvl6pPr>
            <a:lvl7pPr>
              <a:defRPr sz="1667"/>
            </a:lvl7pPr>
            <a:lvl8pPr>
              <a:defRPr sz="1667"/>
            </a:lvl8pPr>
            <a:lvl9pPr>
              <a:defRPr sz="1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167"/>
            </a:lvl1pPr>
            <a:lvl2pPr marL="380985" indent="0">
              <a:buNone/>
              <a:defRPr sz="1000"/>
            </a:lvl2pPr>
            <a:lvl3pPr marL="761970" indent="0">
              <a:buNone/>
              <a:defRPr sz="833"/>
            </a:lvl3pPr>
            <a:lvl4pPr marL="1142954" indent="0">
              <a:buNone/>
              <a:defRPr sz="750"/>
            </a:lvl4pPr>
            <a:lvl5pPr marL="1523939" indent="0">
              <a:buNone/>
              <a:defRPr sz="750"/>
            </a:lvl5pPr>
            <a:lvl6pPr marL="1904924" indent="0">
              <a:buNone/>
              <a:defRPr sz="750"/>
            </a:lvl6pPr>
            <a:lvl7pPr marL="2285909" indent="0">
              <a:buNone/>
              <a:defRPr sz="750"/>
            </a:lvl7pPr>
            <a:lvl8pPr marL="2666893" indent="0">
              <a:buNone/>
              <a:defRPr sz="750"/>
            </a:lvl8pPr>
            <a:lvl9pPr marL="3047878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284848-989D-48C8-A332-1319E2631902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80192117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1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 rtlCol="0">
            <a:normAutofit/>
          </a:bodyPr>
          <a:lstStyle>
            <a:lvl1pPr marL="0" indent="0">
              <a:buNone/>
              <a:defRPr sz="2667"/>
            </a:lvl1pPr>
            <a:lvl2pPr marL="380985" indent="0">
              <a:buNone/>
              <a:defRPr sz="2333"/>
            </a:lvl2pPr>
            <a:lvl3pPr marL="761970" indent="0">
              <a:buNone/>
              <a:defRPr sz="2000"/>
            </a:lvl3pPr>
            <a:lvl4pPr marL="1142954" indent="0">
              <a:buNone/>
              <a:defRPr sz="1667"/>
            </a:lvl4pPr>
            <a:lvl5pPr marL="1523939" indent="0">
              <a:buNone/>
              <a:defRPr sz="1667"/>
            </a:lvl5pPr>
            <a:lvl6pPr marL="1904924" indent="0">
              <a:buNone/>
              <a:defRPr sz="1667"/>
            </a:lvl6pPr>
            <a:lvl7pPr marL="2285909" indent="0">
              <a:buNone/>
              <a:defRPr sz="1667"/>
            </a:lvl7pPr>
            <a:lvl8pPr marL="2666893" indent="0">
              <a:buNone/>
              <a:defRPr sz="1667"/>
            </a:lvl8pPr>
            <a:lvl9pPr marL="3047878" indent="0">
              <a:buNone/>
              <a:defRPr sz="1667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167"/>
            </a:lvl1pPr>
            <a:lvl2pPr marL="380985" indent="0">
              <a:buNone/>
              <a:defRPr sz="1000"/>
            </a:lvl2pPr>
            <a:lvl3pPr marL="761970" indent="0">
              <a:buNone/>
              <a:defRPr sz="833"/>
            </a:lvl3pPr>
            <a:lvl4pPr marL="1142954" indent="0">
              <a:buNone/>
              <a:defRPr sz="750"/>
            </a:lvl4pPr>
            <a:lvl5pPr marL="1523939" indent="0">
              <a:buNone/>
              <a:defRPr sz="750"/>
            </a:lvl5pPr>
            <a:lvl6pPr marL="1904924" indent="0">
              <a:buNone/>
              <a:defRPr sz="750"/>
            </a:lvl6pPr>
            <a:lvl7pPr marL="2285909" indent="0">
              <a:buNone/>
              <a:defRPr sz="750"/>
            </a:lvl7pPr>
            <a:lvl8pPr marL="2666893" indent="0">
              <a:buNone/>
              <a:defRPr sz="750"/>
            </a:lvl8pPr>
            <a:lvl9pPr marL="3047878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57C984E-172B-41A6-AA9F-63412AAE8C2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4774023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37F46AC-8A0B-42BE-A3AF-65914833890C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149264157"/>
      </p:ext>
    </p:extLst>
  </p:cSld>
  <p:clrMapOvr>
    <a:masterClrMapping/>
  </p:clrMapOvr>
  <p:transition spd="med"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C617E6-1871-4158-9460-88C94CE239A0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974610391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28865"/>
            <a:ext cx="2057400" cy="4876271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28865"/>
            <a:ext cx="6019800" cy="4876271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237EF0-2D2B-4028-9638-59DDAD461DF5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567769746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583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250609F-9E84-4091-808B-13264BF3A8F6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676749535"/>
      </p:ext>
    </p:extLst>
  </p:cSld>
  <p:clrMapOvr>
    <a:masterClrMapping/>
  </p:clrMapOvr>
  <p:transition spd="med">
    <p:fade/>
  </p:transition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583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583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0EAB1BD4-BA72-44A3-BE4E-11A62AD16A1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546902789"/>
      </p:ext>
    </p:extLst>
  </p:cSld>
  <p:clrMapOvr>
    <a:masterClrMapping/>
  </p:clrMapOvr>
  <p:transition spd="med">
    <p:fade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583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302E7C2-A332-4D1A-84AD-4C56ABC2D105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490652759"/>
      </p:ext>
    </p:extLst>
  </p:cSld>
  <p:clrMapOvr>
    <a:masterClrMapping/>
  </p:clrMapOvr>
  <p:transition spd="med">
    <p:fade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92DEF05-6D2E-4F3B-9266-966163AABD0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761213128"/>
      </p:ext>
    </p:extLst>
  </p:cSld>
  <p:clrMapOvr>
    <a:masterClrMapping/>
  </p:clrMapOvr>
  <p:transition spd="med">
    <p:fade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74710"/>
            <a:ext cx="7020260" cy="384721"/>
          </a:xfrm>
        </p:spPr>
        <p:txBody>
          <a:bodyPr>
            <a:spAutoFit/>
          </a:bodyPr>
          <a:lstStyle>
            <a:lvl1pPr algn="ctr"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667871"/>
      </p:ext>
    </p:extLst>
  </p:cSld>
  <p:clrMapOvr>
    <a:masterClrMapping/>
  </p:clrMapOvr>
  <p:transition spd="med">
    <p:fade/>
  </p:transition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8243007"/>
      </p:ext>
    </p:extLst>
  </p:cSld>
  <p:clrMapOvr>
    <a:masterClrMapping/>
  </p:clrMapOvr>
  <p:transition spd="med">
    <p:fade/>
  </p:transition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504385"/>
            <a:ext cx="8496944" cy="384721"/>
          </a:xfrm>
        </p:spPr>
        <p:txBody>
          <a:bodyPr>
            <a:spAutoFit/>
          </a:bodyPr>
          <a:lstStyle>
            <a:lvl1pPr algn="ctr"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None/>
              <a:defRPr sz="1083">
                <a:solidFill>
                  <a:srgbClr val="828E8C"/>
                </a:solidFill>
                <a:latin typeface="Calibri"/>
                <a:cs typeface="Calibri"/>
              </a:defRPr>
            </a:lvl1pPr>
            <a:lvl2pPr marL="35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07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1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14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68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223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76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29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2114898"/>
      </p:ext>
    </p:extLst>
  </p:cSld>
  <p:clrMapOvr>
    <a:masterClrMapping/>
  </p:clrMapOvr>
  <p:transition spd="med">
    <p:fade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2566915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C64643F-43CA-424D-9FF8-4DCC4412564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801365703"/>
      </p:ext>
    </p:extLst>
  </p:cSld>
  <p:clrMapOvr>
    <a:masterClrMapping/>
  </p:clrMapOvr>
  <p:transition spd="med">
    <p:fade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A50580D5-96AD-7147-9310-80FDC484115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7031FAA0-C75A-4E50-ACFC-E1E21DB5717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>
            <a:extLst>
              <a:ext uri="{FF2B5EF4-FFF2-40B4-BE49-F238E27FC236}">
                <a16:creationId xmlns:a16="http://schemas.microsoft.com/office/drawing/2014/main" id="{74C2146B-FC9D-5848-B647-22921A0DFFC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5410965"/>
      </p:ext>
    </p:extLst>
  </p:cSld>
  <p:clrMapOvr>
    <a:masterClrMapping/>
  </p:clrMapOvr>
  <p:transition spd="med">
    <p:fade/>
  </p:transition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>
            <a:extLst>
              <a:ext uri="{FF2B5EF4-FFF2-40B4-BE49-F238E27FC236}">
                <a16:creationId xmlns:a16="http://schemas.microsoft.com/office/drawing/2014/main" id="{2377D6C3-14C0-DC42-A7A0-780EED9DBDC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CA94475B-5AD2-4446-A31D-A47E87B6E85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91131584"/>
      </p:ext>
    </p:extLst>
  </p:cSld>
  <p:clrMapOvr>
    <a:masterClrMapping/>
  </p:clrMapOvr>
  <p:transition spd="med">
    <p:fade/>
  </p:transition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>
            <a:extLst>
              <a:ext uri="{FF2B5EF4-FFF2-40B4-BE49-F238E27FC236}">
                <a16:creationId xmlns:a16="http://schemas.microsoft.com/office/drawing/2014/main" id="{4C21F6C4-FA22-6A48-A6A0-57FCD36599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76E6934E-B0C1-674C-840C-55F8584E97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DBFA5F7-9F06-4865-B793-53D4D0EA203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47641961"/>
      </p:ext>
    </p:extLst>
  </p:cSld>
  <p:clrMapOvr>
    <a:masterClrMapping/>
  </p:clrMapOvr>
  <p:transition spd="med">
    <p:fade/>
  </p:transition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EBE4DC-8BA7-4CDF-8986-782071135176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8825951"/>
      </p:ext>
    </p:extLst>
  </p:cSld>
  <p:clrMapOvr>
    <a:masterClrMapping/>
  </p:clrMapOvr>
  <p:transition spd="med">
    <p:fade/>
  </p:transition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>
            <a:extLst>
              <a:ext uri="{FF2B5EF4-FFF2-40B4-BE49-F238E27FC236}">
                <a16:creationId xmlns:a16="http://schemas.microsoft.com/office/drawing/2014/main" id="{FAF10D1D-B3B6-F64F-B61B-75895951B1A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92EE2008-7AE8-4138-9F01-DD5896A06FB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2006629"/>
      </p:ext>
    </p:extLst>
  </p:cSld>
  <p:clrMapOvr>
    <a:masterClrMapping/>
  </p:clrMapOvr>
  <p:transition spd="med">
    <p:fade/>
  </p:transition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>
            <a:extLst>
              <a:ext uri="{FF2B5EF4-FFF2-40B4-BE49-F238E27FC236}">
                <a16:creationId xmlns:a16="http://schemas.microsoft.com/office/drawing/2014/main" id="{59748D5C-D6BB-F94B-A2DE-92582F5235D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977F04AB-BF92-454D-B4D6-063EE0E0326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2620959"/>
      </p:ext>
    </p:extLst>
  </p:cSld>
  <p:clrMapOvr>
    <a:masterClrMapping/>
  </p:clrMapOvr>
  <p:transition spd="med">
    <p:fade/>
  </p:transition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>
            <a:extLst>
              <a:ext uri="{FF2B5EF4-FFF2-40B4-BE49-F238E27FC236}">
                <a16:creationId xmlns:a16="http://schemas.microsoft.com/office/drawing/2014/main" id="{B93B1AFD-D735-CF44-B646-878433594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ED6052DF-E4C6-EE44-A991-99D6B0CDD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7C38C89B-4312-DC4D-90CD-E68E9E07A2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A1E200-36C4-465B-A4FD-0D1DD768A14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7AA34D25-197C-9249-90B5-FA714B862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90876062"/>
      </p:ext>
    </p:extLst>
  </p:cSld>
  <p:clrMapOvr>
    <a:masterClrMapping/>
  </p:clrMapOvr>
  <p:transition spd="med">
    <p:fade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0251677"/>
      </p:ext>
    </p:extLst>
  </p:cSld>
  <p:clrMapOvr>
    <a:masterClrMapping/>
  </p:clrMapOvr>
  <p:transition spd="med">
    <p:fade/>
  </p:transition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6F80D0E2-9D01-5140-9D60-46E8BCC1BD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D6B3360-292B-41B3-9265-86F0A576554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31A65C89-CCFA-1749-A2FF-C3F95C8573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7589608"/>
      </p:ext>
    </p:extLst>
  </p:cSld>
  <p:clrMapOvr>
    <a:masterClrMapping/>
  </p:clrMapOvr>
  <p:transition spd="med">
    <p:fade/>
  </p:transition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lutning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0537363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198502"/>
      </p:ext>
    </p:extLst>
  </p:cSld>
  <p:clrMapOvr>
    <a:masterClrMapping/>
  </p:clrMapOvr>
  <p:transition spd="med">
    <p:fad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7568978"/>
      </p:ext>
    </p:extLst>
  </p:cSld>
  <p:clrMapOvr>
    <a:masterClrMapping/>
  </p:clrMapOvr>
  <p:transition spd="med">
    <p:fade/>
  </p:transition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o innholdsboks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C519BDB8-577F-F149-A075-6730C0AC92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89A13C04-75F8-9643-A2B1-B5431BDAC31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788024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4AAAE355-8D0B-DC46-AC5B-B5F4B5589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6B6F5906-3D74-524C-8AB8-24048EC357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8FEC55-8BD1-124C-B74D-75212B991C9F}" type="slidenum">
              <a:rPr lang="en-US" altLang="nb-NO"/>
              <a:pPr>
                <a:defRPr/>
              </a:pPr>
              <a:t>‹#›</a:t>
            </a:fld>
            <a:endParaRPr lang="en-US" altLang="nb-NO" dirty="0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38C7065B-00F7-6748-8BC5-B111A38443D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36536841"/>
      </p:ext>
    </p:extLst>
  </p:cSld>
  <p:clrMapOvr>
    <a:masterClrMapping/>
  </p:clrMapOvr>
  <p:transition spd="med">
    <p:fade/>
  </p:transition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A50580D5-96AD-7147-9310-80FDC484115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7031FAA0-C75A-4E50-ACFC-E1E21DB5717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>
            <a:extLst>
              <a:ext uri="{FF2B5EF4-FFF2-40B4-BE49-F238E27FC236}">
                <a16:creationId xmlns:a16="http://schemas.microsoft.com/office/drawing/2014/main" id="{74C2146B-FC9D-5848-B647-22921A0DFFC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9683080"/>
      </p:ext>
    </p:extLst>
  </p:cSld>
  <p:clrMapOvr>
    <a:masterClrMapping/>
  </p:clrMapOvr>
  <p:transition spd="med">
    <p:fade/>
  </p:transition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>
            <a:extLst>
              <a:ext uri="{FF2B5EF4-FFF2-40B4-BE49-F238E27FC236}">
                <a16:creationId xmlns:a16="http://schemas.microsoft.com/office/drawing/2014/main" id="{2377D6C3-14C0-DC42-A7A0-780EED9DBDC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CA94475B-5AD2-4446-A31D-A47E87B6E85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7536457"/>
      </p:ext>
    </p:extLst>
  </p:cSld>
  <p:clrMapOvr>
    <a:masterClrMapping/>
  </p:clrMapOvr>
  <p:transition spd="med">
    <p:fade/>
  </p:transition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>
            <a:extLst>
              <a:ext uri="{FF2B5EF4-FFF2-40B4-BE49-F238E27FC236}">
                <a16:creationId xmlns:a16="http://schemas.microsoft.com/office/drawing/2014/main" id="{4C21F6C4-FA22-6A48-A6A0-57FCD36599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76E6934E-B0C1-674C-840C-55F8584E97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DBFA5F7-9F06-4865-B793-53D4D0EA203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7037775"/>
      </p:ext>
    </p:extLst>
  </p:cSld>
  <p:clrMapOvr>
    <a:masterClrMapping/>
  </p:clrMapOvr>
  <p:transition spd="med">
    <p:fade/>
  </p:transition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EBE4DC-8BA7-4CDF-8986-782071135176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952503"/>
      </p:ext>
    </p:extLst>
  </p:cSld>
  <p:clrMapOvr>
    <a:masterClrMapping/>
  </p:clrMapOvr>
  <p:transition spd="med">
    <p:fade/>
  </p:transition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>
            <a:extLst>
              <a:ext uri="{FF2B5EF4-FFF2-40B4-BE49-F238E27FC236}">
                <a16:creationId xmlns:a16="http://schemas.microsoft.com/office/drawing/2014/main" id="{FAF10D1D-B3B6-F64F-B61B-75895951B1A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92EE2008-7AE8-4138-9F01-DD5896A06FB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9298763"/>
      </p:ext>
    </p:extLst>
  </p:cSld>
  <p:clrMapOvr>
    <a:masterClrMapping/>
  </p:clrMapOvr>
  <p:transition spd="med">
    <p:fade/>
  </p:transition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>
            <a:extLst>
              <a:ext uri="{FF2B5EF4-FFF2-40B4-BE49-F238E27FC236}">
                <a16:creationId xmlns:a16="http://schemas.microsoft.com/office/drawing/2014/main" id="{59748D5C-D6BB-F94B-A2DE-92582F5235D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977F04AB-BF92-454D-B4D6-063EE0E0326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8720411"/>
      </p:ext>
    </p:extLst>
  </p:cSld>
  <p:clrMapOvr>
    <a:masterClrMapping/>
  </p:clrMapOvr>
  <p:transition spd="med">
    <p:fade/>
  </p:transition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>
            <a:extLst>
              <a:ext uri="{FF2B5EF4-FFF2-40B4-BE49-F238E27FC236}">
                <a16:creationId xmlns:a16="http://schemas.microsoft.com/office/drawing/2014/main" id="{B93B1AFD-D735-CF44-B646-878433594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ED6052DF-E4C6-EE44-A991-99D6B0CDD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7C38C89B-4312-DC4D-90CD-E68E9E07A2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A1E200-36C4-465B-A4FD-0D1DD768A14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7AA34D25-197C-9249-90B5-FA714B862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4611205"/>
      </p:ext>
    </p:extLst>
  </p:cSld>
  <p:clrMapOvr>
    <a:masterClrMapping/>
  </p:clrMapOvr>
  <p:transition spd="med">
    <p:fade/>
  </p:transition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2192248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8316274"/>
      </p:ext>
    </p:extLst>
  </p:cSld>
  <p:clrMapOvr>
    <a:masterClrMapping/>
  </p:clrMapOvr>
  <p:transition spd="med">
    <p:fad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6F80D0E2-9D01-5140-9D60-46E8BCC1BD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D6B3360-292B-41B3-9265-86F0A576554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31A65C89-CCFA-1749-A2FF-C3F95C8573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6747997"/>
      </p:ext>
    </p:extLst>
  </p:cSld>
  <p:clrMapOvr>
    <a:masterClrMapping/>
  </p:clrMapOvr>
  <p:transition spd="med">
    <p:fade/>
  </p:transition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48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0992D6-4936-49CE-BECC-D60D6778B6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485311"/>
      </p:ext>
    </p:extLst>
  </p:cSld>
  <p:clrMapOvr>
    <a:masterClrMapping/>
  </p:clrMapOvr>
  <p:transition spd="med">
    <p:fade/>
  </p:transition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614843"/>
      </p:ext>
    </p:extLst>
  </p:cSld>
  <p:clrMapOvr>
    <a:masterClrMapping/>
  </p:clrMapOvr>
  <p:transition spd="med">
    <p:fade/>
  </p:transition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o innholdsboks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C519BDB8-577F-F149-A075-6730C0AC92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89A13C04-75F8-9643-A2B1-B5431BDAC31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788024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4AAAE355-8D0B-DC46-AC5B-B5F4B5589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6B6F5906-3D74-524C-8AB8-24048EC357F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8FEC55-8BD1-124C-B74D-75212B991C9F}" type="slidenum">
              <a:rPr lang="en-US" altLang="nb-NO"/>
              <a:pPr>
                <a:defRPr/>
              </a:pPr>
              <a:t>‹#›</a:t>
            </a:fld>
            <a:endParaRPr lang="en-US" altLang="nb-NO" dirty="0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38C7065B-00F7-6748-8BC5-B111A38443D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4766617"/>
      </p:ext>
    </p:extLst>
  </p:cSld>
  <p:clrMapOvr>
    <a:masterClrMapping/>
  </p:clrMapOvr>
  <p:transition spd="med">
    <p:fade/>
  </p:transition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 uten strip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>
            <a:extLst>
              <a:ext uri="{FF2B5EF4-FFF2-40B4-BE49-F238E27FC236}">
                <a16:creationId xmlns:a16="http://schemas.microsoft.com/office/drawing/2014/main" id="{F60B28AB-1396-1F4D-850B-9BC0510D3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AAD4CE1F-977F-F54A-9376-8D209FFFE5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F8654E-6BA2-4143-9D10-ED9C55B5B7FB}" type="slidenum">
              <a:rPr lang="en-US" altLang="nb-NO"/>
              <a:pPr>
                <a:defRPr/>
              </a:pPr>
              <a:t>‹#›</a:t>
            </a:fld>
            <a:endParaRPr lang="en-US" alt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4103CF9A-9E1B-5443-88E5-323C7EB5C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5297D439-F44A-7543-9359-7BB24F3430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083069"/>
      </p:ext>
    </p:extLst>
  </p:cSld>
  <p:clrMapOvr>
    <a:masterClrMapping/>
  </p:clrMapOvr>
  <p:transition spd="med">
    <p:fade/>
  </p:transition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innhold og halvside jen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>
            <a:extLst>
              <a:ext uri="{FF2B5EF4-FFF2-40B4-BE49-F238E27FC236}">
                <a16:creationId xmlns:a16="http://schemas.microsoft.com/office/drawing/2014/main" id="{D4FBC311-EDC9-7341-8C96-EA4D22B88A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55" r="41296" b="9685"/>
          <a:stretch>
            <a:fillRect/>
          </a:stretch>
        </p:blipFill>
        <p:spPr bwMode="auto">
          <a:xfrm>
            <a:off x="4572000" y="0"/>
            <a:ext cx="4572000" cy="557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E9E08D1C-FFA7-094A-BC55-60C0414D77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95507784-6A82-9A46-A88F-B54FD4244D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98626F-CE0C-2648-AA9B-659AF62E4A01}" type="slidenum">
              <a:rPr lang="en-US" altLang="nb-NO"/>
              <a:pPr>
                <a:defRPr/>
              </a:pPr>
              <a:t>‹#›</a:t>
            </a:fld>
            <a:endParaRPr lang="en-US" altLang="nb-NO" dirty="0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F35A886B-623C-EF43-809D-34CCA4D29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0085822"/>
      </p:ext>
    </p:extLst>
  </p:cSld>
  <p:clrMapOvr>
    <a:masterClrMapping/>
  </p:clrMapOvr>
  <p:transition spd="med">
    <p:fade/>
  </p:transition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E710F-F626-49A7-AFAA-D14AA84E3E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775218"/>
      </p:ext>
    </p:extLst>
  </p:cSld>
  <p:clrMapOvr>
    <a:masterClrMapping/>
  </p:clrMapOvr>
  <p:transition spd="med">
    <p:fade/>
  </p:transition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F253A4-E3B0-4334-B4F8-531792FAE4B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50254"/>
      </p:ext>
    </p:extLst>
  </p:cSld>
  <p:clrMapOvr>
    <a:masterClrMapping/>
  </p:clrMapOvr>
  <p:transition spd="med">
    <p:fade/>
  </p:transition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DEEAF5-2200-40BF-A960-E134920AD3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3372174"/>
      </p:ext>
    </p:extLst>
  </p:cSld>
  <p:clrMapOvr>
    <a:masterClrMapping/>
  </p:clrMapOvr>
  <p:transition spd="med">
    <p:fade/>
  </p:transition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9A4F21-2B92-4BFC-8F60-63962FAE76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109446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12088067"/>
      </p:ext>
    </p:extLst>
  </p:cSld>
  <p:clrMapOvr>
    <a:masterClrMapping/>
  </p:clrMapOvr>
  <p:transition spd="med">
    <p:fade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025380"/>
      </p:ext>
    </p:extLst>
  </p:cSld>
  <p:clrMapOvr>
    <a:masterClrMapping/>
  </p:clrMapOvr>
  <p:transition spd="med">
    <p:fade/>
  </p:transition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2206353"/>
      </p:ext>
    </p:extLst>
  </p:cSld>
  <p:clrMapOvr>
    <a:masterClrMapping/>
  </p:clrMapOvr>
  <p:transition spd="med">
    <p:fade/>
  </p:transition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34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1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7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9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2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4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3466327"/>
      </p:ext>
    </p:extLst>
  </p:cSld>
  <p:clrMapOvr>
    <a:masterClrMapping/>
  </p:clrMapOvr>
  <p:transition spd="med">
    <p:fade/>
  </p:transition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2"/>
          </p:nvPr>
        </p:nvSpPr>
        <p:spPr>
          <a:xfrm>
            <a:off x="4788024" y="1332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8BD9E-CC8B-47B3-A189-C9E153A3AA54}" type="slidenum">
              <a:rPr lang="en-US" altLang="nb-NO"/>
              <a:pPr>
                <a:defRPr/>
              </a:pPr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32075362"/>
      </p:ext>
    </p:extLst>
  </p:cSld>
  <p:clrMapOvr>
    <a:masterClrMapping/>
  </p:clrMapOvr>
  <p:transition spd="med">
    <p:fade/>
  </p:transition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A50580D5-96AD-7147-9310-80FDC484115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7031FAA0-C75A-4E50-ACFC-E1E21DB5717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>
            <a:extLst>
              <a:ext uri="{FF2B5EF4-FFF2-40B4-BE49-F238E27FC236}">
                <a16:creationId xmlns:a16="http://schemas.microsoft.com/office/drawing/2014/main" id="{74C2146B-FC9D-5848-B647-22921A0DFFC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1589184"/>
      </p:ext>
    </p:extLst>
  </p:cSld>
  <p:clrMapOvr>
    <a:masterClrMapping/>
  </p:clrMapOvr>
  <p:transition spd="med">
    <p:fade/>
  </p:transition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>
            <a:extLst>
              <a:ext uri="{FF2B5EF4-FFF2-40B4-BE49-F238E27FC236}">
                <a16:creationId xmlns:a16="http://schemas.microsoft.com/office/drawing/2014/main" id="{2377D6C3-14C0-DC42-A7A0-780EED9DBDC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CA94475B-5AD2-4446-A31D-A47E87B6E85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5114307"/>
      </p:ext>
    </p:extLst>
  </p:cSld>
  <p:clrMapOvr>
    <a:masterClrMapping/>
  </p:clrMapOvr>
  <p:transition spd="med">
    <p:fade/>
  </p:transition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>
            <a:extLst>
              <a:ext uri="{FF2B5EF4-FFF2-40B4-BE49-F238E27FC236}">
                <a16:creationId xmlns:a16="http://schemas.microsoft.com/office/drawing/2014/main" id="{4C21F6C4-FA22-6A48-A6A0-57FCD36599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76E6934E-B0C1-674C-840C-55F8584E97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DBFA5F7-9F06-4865-B793-53D4D0EA203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731094"/>
      </p:ext>
    </p:extLst>
  </p:cSld>
  <p:clrMapOvr>
    <a:masterClrMapping/>
  </p:clrMapOvr>
  <p:transition spd="med">
    <p:fade/>
  </p:transition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EBE4DC-8BA7-4CDF-8986-782071135176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1782111"/>
      </p:ext>
    </p:extLst>
  </p:cSld>
  <p:clrMapOvr>
    <a:masterClrMapping/>
  </p:clrMapOvr>
  <p:transition spd="med">
    <p:fade/>
  </p:transition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>
            <a:extLst>
              <a:ext uri="{FF2B5EF4-FFF2-40B4-BE49-F238E27FC236}">
                <a16:creationId xmlns:a16="http://schemas.microsoft.com/office/drawing/2014/main" id="{FAF10D1D-B3B6-F64F-B61B-75895951B1A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92EE2008-7AE8-4138-9F01-DD5896A06FB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9145259"/>
      </p:ext>
    </p:extLst>
  </p:cSld>
  <p:clrMapOvr>
    <a:masterClrMapping/>
  </p:clrMapOvr>
  <p:transition spd="med">
    <p:fade/>
  </p:transition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>
            <a:extLst>
              <a:ext uri="{FF2B5EF4-FFF2-40B4-BE49-F238E27FC236}">
                <a16:creationId xmlns:a16="http://schemas.microsoft.com/office/drawing/2014/main" id="{59748D5C-D6BB-F94B-A2DE-92582F5235D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977F04AB-BF92-454D-B4D6-063EE0E0326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4937132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4800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FA9A8B0-7908-462A-8648-9BBE207CA1C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500845936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>
            <a:extLst>
              <a:ext uri="{FF2B5EF4-FFF2-40B4-BE49-F238E27FC236}">
                <a16:creationId xmlns:a16="http://schemas.microsoft.com/office/drawing/2014/main" id="{B93B1AFD-D735-CF44-B646-878433594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ED6052DF-E4C6-EE44-A991-99D6B0CDD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7C38C89B-4312-DC4D-90CD-E68E9E07A2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A1E200-36C4-465B-A4FD-0D1DD768A14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7AA34D25-197C-9249-90B5-FA714B862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9360517"/>
      </p:ext>
    </p:extLst>
  </p:cSld>
  <p:clrMapOvr>
    <a:masterClrMapping/>
  </p:clrMapOvr>
  <p:transition spd="med">
    <p:fade/>
  </p:transition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0832664"/>
      </p:ext>
    </p:extLst>
  </p:cSld>
  <p:clrMapOvr>
    <a:masterClrMapping/>
  </p:clrMapOvr>
  <p:transition spd="med">
    <p:fade/>
  </p:transition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6F80D0E2-9D01-5140-9D60-46E8BCC1BD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D6B3360-292B-41B3-9265-86F0A576554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31A65C89-CCFA-1749-A2FF-C3F95C8573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2792466"/>
      </p:ext>
    </p:extLst>
  </p:cSld>
  <p:clrMapOvr>
    <a:masterClrMapping/>
  </p:clrMapOvr>
  <p:transition spd="med">
    <p:fade/>
  </p:transition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48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0992D6-4936-49CE-BECC-D60D6778B6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392004"/>
      </p:ext>
    </p:extLst>
  </p:cSld>
  <p:clrMapOvr>
    <a:masterClrMapping/>
  </p:clrMapOvr>
  <p:transition spd="med">
    <p:fade/>
  </p:transition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 uten strip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>
            <a:extLst>
              <a:ext uri="{FF2B5EF4-FFF2-40B4-BE49-F238E27FC236}">
                <a16:creationId xmlns:a16="http://schemas.microsoft.com/office/drawing/2014/main" id="{F60B28AB-1396-1F4D-850B-9BC0510D3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648000"/>
            <a:ext cx="7199313" cy="68400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AAD4CE1F-977F-F54A-9376-8D209FFFE5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F8654E-6BA2-4143-9D10-ED9C55B5B7FB}" type="slidenum">
              <a:rPr lang="en-US" altLang="nb-NO"/>
              <a:pPr>
                <a:defRPr/>
              </a:pPr>
              <a:t>‹#›</a:t>
            </a:fld>
            <a:endParaRPr lang="en-US" alt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4103CF9A-9E1B-5443-88E5-323C7EB5C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5297D439-F44A-7543-9359-7BB24F3430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245710"/>
      </p:ext>
    </p:extLst>
  </p:cSld>
  <p:clrMapOvr>
    <a:masterClrMapping/>
  </p:clrMapOvr>
  <p:transition spd="med">
    <p:fade/>
  </p:transition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4389783"/>
            <a:ext cx="9144000" cy="132521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574930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9194120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4C5FB3-58AA-4ABC-B265-E61A30B485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80833"/>
      </p:ext>
    </p:extLst>
  </p:cSld>
  <p:clrMapOvr>
    <a:masterClrMapping/>
  </p:clrMapOvr>
  <p:transition spd="med">
    <p:fade/>
  </p:transition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48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3D10F0-F026-4E99-B6EC-CF02879781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569519"/>
      </p:ext>
    </p:extLst>
  </p:cSld>
  <p:clrMapOvr>
    <a:masterClrMapping/>
  </p:clrMapOvr>
  <p:transition spd="med">
    <p:fade/>
  </p:transition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35C5B6-FABA-4811-96C6-EDC86B8570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710802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FA7C8C5-CA62-47EA-8DAD-17E15CB678B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835404518"/>
      </p:ext>
    </p:extLst>
  </p:cSld>
  <p:clrMapOvr>
    <a:masterClrMapping/>
  </p:clrMapOvr>
  <p:transition spd="med">
    <p:fade/>
  </p:transition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BA6BD-0E61-4E2D-A46F-D49A4FEFDF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899344"/>
      </p:ext>
    </p:extLst>
  </p:cSld>
  <p:clrMapOvr>
    <a:masterClrMapping/>
  </p:clrMapOvr>
  <p:transition spd="med">
    <p:fade/>
  </p:transition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7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333720"/>
      </p:ext>
    </p:extLst>
  </p:cSld>
  <p:clrMapOvr>
    <a:masterClrMapping/>
  </p:clrMapOvr>
  <p:transition spd="med">
    <p:fade/>
  </p:transition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290432"/>
      </p:ext>
    </p:extLst>
  </p:cSld>
  <p:clrMapOvr>
    <a:masterClrMapping/>
  </p:clrMapOvr>
  <p:transition spd="med">
    <p:fade/>
  </p:transition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0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3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730426"/>
      </p:ext>
    </p:extLst>
  </p:cSld>
  <p:clrMapOvr>
    <a:masterClrMapping/>
  </p:clrMapOvr>
  <p:transition spd="med">
    <p:fade/>
  </p:transition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8568480" cy="5032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347228"/>
            <a:ext cx="8568480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D0FBFEB8-8F34-496B-AB64-9EF3E372A939}" type="slidenum">
              <a:rPr lang="en-US" altLang="nb-NO"/>
              <a:pPr/>
              <a:t>‹#›</a:t>
            </a:fld>
            <a:endParaRPr lang="en-US" altLang="nb-NO" dirty="0"/>
          </a:p>
        </p:txBody>
      </p:sp>
      <p:sp>
        <p:nvSpPr>
          <p:cNvPr id="6" name="Plassholder for bunntekst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1839572"/>
      </p:ext>
    </p:extLst>
  </p:cSld>
  <p:clrMapOvr>
    <a:masterClrMapping/>
  </p:clrMapOvr>
  <p:transition spd="med">
    <p:fade/>
  </p:transition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/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8568480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4000" y="3347228"/>
            <a:ext cx="8568480" cy="68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/>
              <a:t>Klikk for å redigere tittelstil</a:t>
            </a:r>
            <a:endParaRPr lang="en-US" altLang="nb-NO" dirty="0"/>
          </a:p>
        </p:txBody>
      </p:sp>
      <p:sp>
        <p:nvSpPr>
          <p:cNvPr id="9" name="Plassholder for bilde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9144000" cy="3131999"/>
          </a:xfrm>
          <a:noFill/>
        </p:spPr>
        <p:txBody>
          <a:bodyPr>
            <a:normAutofit/>
          </a:bodyPr>
          <a:lstStyle>
            <a:lvl1pPr algn="ctr">
              <a:defRPr/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387A6F41-71B5-4F51-9E6E-3EF08CA2E9CF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741081"/>
      </p:ext>
    </p:extLst>
  </p:cSld>
  <p:clrMapOvr>
    <a:masterClrMapping/>
  </p:clrMapOvr>
  <p:transition spd="med">
    <p:fade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8494599" cy="91335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584000"/>
            <a:ext cx="8496472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 sz="1400">
                <a:solidFill>
                  <a:srgbClr val="555859"/>
                </a:solidFill>
              </a:defRPr>
            </a:lvl3pPr>
            <a:lvl4pPr>
              <a:defRPr sz="1200">
                <a:solidFill>
                  <a:srgbClr val="555859"/>
                </a:solidFill>
              </a:defRPr>
            </a:lvl4pPr>
            <a:lvl5pPr>
              <a:defRPr sz="1000"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2EE9C86-A88D-417A-9B68-3B972BE12FB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42492"/>
      </p:ext>
    </p:extLst>
  </p:cSld>
  <p:clrMapOvr>
    <a:masterClrMapping/>
  </p:clrMapOvr>
  <p:transition spd="med">
    <p:fade/>
  </p:transition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uten strip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8494599" cy="93441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innhold 2"/>
          <p:cNvSpPr>
            <a:spLocks noGrp="1"/>
          </p:cNvSpPr>
          <p:nvPr>
            <p:ph idx="1"/>
          </p:nvPr>
        </p:nvSpPr>
        <p:spPr>
          <a:xfrm>
            <a:off x="324000" y="1584000"/>
            <a:ext cx="8496472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lysbil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F31B1B9-FB2A-4D48-BE6A-6F1CA33CCB10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7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99139636"/>
      </p:ext>
    </p:extLst>
  </p:cSld>
  <p:clrMapOvr>
    <a:masterClrMapping/>
  </p:clrMapOvr>
  <p:transition spd="med">
    <p:fade/>
  </p:transition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o innholdsbokser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2"/>
          <p:cNvSpPr>
            <a:spLocks noGrp="1"/>
          </p:cNvSpPr>
          <p:nvPr>
            <p:ph idx="1"/>
          </p:nvPr>
        </p:nvSpPr>
        <p:spPr>
          <a:xfrm>
            <a:off x="324000" y="1584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2"/>
          </p:nvPr>
        </p:nvSpPr>
        <p:spPr>
          <a:xfrm>
            <a:off x="4788024" y="1584000"/>
            <a:ext cx="4031976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8496150" cy="93441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387F5ADE-4EA3-4BA9-8D3E-7B26B2277CE0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7875699"/>
      </p:ext>
    </p:extLst>
  </p:cSld>
  <p:clrMapOvr>
    <a:masterClrMapping/>
  </p:clrMapOvr>
  <p:transition spd="med">
    <p:fade/>
  </p:transition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halvside jent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55" r="41296" b="9685"/>
          <a:stretch>
            <a:fillRect/>
          </a:stretch>
        </p:blipFill>
        <p:spPr bwMode="auto">
          <a:xfrm>
            <a:off x="4572000" y="0"/>
            <a:ext cx="4572000" cy="557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lnSpc>
                <a:spcPct val="110000"/>
              </a:lnSpc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lnSpc>
                <a:spcPct val="110000"/>
              </a:lnSpc>
              <a:defRPr>
                <a:solidFill>
                  <a:srgbClr val="555859"/>
                </a:solidFill>
              </a:defRPr>
            </a:lvl2pPr>
            <a:lvl3pPr>
              <a:lnSpc>
                <a:spcPct val="110000"/>
              </a:lnSpc>
              <a:defRPr>
                <a:solidFill>
                  <a:srgbClr val="555859"/>
                </a:solidFill>
              </a:defRPr>
            </a:lvl3pPr>
            <a:lvl4pPr>
              <a:lnSpc>
                <a:spcPct val="110000"/>
              </a:lnSpc>
              <a:defRPr>
                <a:solidFill>
                  <a:srgbClr val="555859"/>
                </a:solidFill>
              </a:defRPr>
            </a:lvl4pPr>
            <a:lvl5pPr>
              <a:lnSpc>
                <a:spcPct val="110000"/>
              </a:lnSpc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7F9663-264D-4417-987B-64874224E48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017828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190676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E82CD01F-2F2F-451C-8C69-B750C2C775B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894434348"/>
      </p:ext>
    </p:extLst>
  </p:cSld>
  <p:clrMapOvr>
    <a:masterClrMapping/>
  </p:clrMapOvr>
  <p:transition spd="med">
    <p:fade/>
  </p:transition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halvside bil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836000"/>
            <a:ext cx="3815952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323850" y="648000"/>
            <a:ext cx="3816102" cy="1188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1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4572000" y="0"/>
            <a:ext cx="4572000" cy="5572800"/>
          </a:xfrm>
          <a:noFill/>
        </p:spPr>
        <p:txBody>
          <a:bodyPr>
            <a:normAutofit/>
          </a:bodyPr>
          <a:lstStyle>
            <a:lvl1pPr algn="ctr">
              <a:defRPr/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FF997C7-F598-4D94-B2DC-08FB879B3AA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6381791"/>
      </p:ext>
    </p:extLst>
  </p:cSld>
  <p:clrMapOvr>
    <a:masterClrMapping/>
  </p:clrMapOvr>
  <p:transition spd="med">
    <p:fade/>
  </p:transition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fyrtårn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6"/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0" t="19435" r="16719" b="-12"/>
          <a:stretch>
            <a:fillRect/>
          </a:stretch>
        </p:blipFill>
        <p:spPr bwMode="auto">
          <a:xfrm>
            <a:off x="0" y="0"/>
            <a:ext cx="9144000" cy="431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EE8866-D618-4E0F-94CB-7BEDC030256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0011526"/>
      </p:ext>
    </p:extLst>
  </p:cSld>
  <p:clrMapOvr>
    <a:masterClrMapping/>
  </p:clrMapOvr>
  <p:transition spd="med">
    <p:fade/>
  </p:transition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valgfrit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0" cy="4320000"/>
          </a:xfrm>
          <a:noFill/>
        </p:spPr>
        <p:txBody>
          <a:bodyPr>
            <a:normAutofit/>
          </a:bodyPr>
          <a:lstStyle>
            <a:lvl1pPr algn="ctr">
              <a:defRPr/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2A175D44-F056-494A-8AA8-E5F412802D7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1517414"/>
      </p:ext>
    </p:extLst>
  </p:cSld>
  <p:clrMapOvr>
    <a:masterClrMapping/>
  </p:clrMapOvr>
  <p:transition spd="med">
    <p:fade/>
  </p:transition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 lyskjeg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276704"/>
      </p:ext>
    </p:extLst>
  </p:cSld>
  <p:clrMapOvr>
    <a:masterClrMapping/>
  </p:clrMapOvr>
  <p:transition spd="med">
    <p:fade/>
  </p:transition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log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2035901"/>
      </p:ext>
    </p:extLst>
  </p:cSld>
  <p:clrMapOvr>
    <a:masterClrMapping/>
  </p:clrMapOvr>
  <p:transition spd="med">
    <p:fade/>
  </p:transition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profil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9"/>
          <a:stretch>
            <a:fillRect/>
          </a:stretch>
        </p:blipFill>
        <p:spPr bwMode="auto">
          <a:xfrm>
            <a:off x="0" y="0"/>
            <a:ext cx="9144000" cy="313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A50580D5-96AD-7147-9310-80FDC484115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7031FAA0-C75A-4E50-ACFC-E1E21DB5717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1">
            <a:extLst>
              <a:ext uri="{FF2B5EF4-FFF2-40B4-BE49-F238E27FC236}">
                <a16:creationId xmlns:a16="http://schemas.microsoft.com/office/drawing/2014/main" id="{74C2146B-FC9D-5848-B647-22921A0DFFC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9223454"/>
      </p:ext>
    </p:extLst>
  </p:cSld>
  <p:clrMapOvr>
    <a:masterClrMapping/>
  </p:clrMapOvr>
  <p:transition spd="med">
    <p:fade/>
  </p:transition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/skilleark valgfri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ssholder for innhold 6">
            <a:extLst>
              <a:ext uri="{FF2B5EF4-FFF2-40B4-BE49-F238E27FC236}">
                <a16:creationId xmlns:a16="http://schemas.microsoft.com/office/drawing/2014/main" id="{2377D6C3-14C0-DC42-A7A0-780EED9DBDC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"/>
            <a:ext cx="9144000" cy="3131999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4038698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3132000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CA94475B-5AD2-4446-A31D-A47E87B6E85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7050041"/>
      </p:ext>
    </p:extLst>
  </p:cSld>
  <p:clrMapOvr>
    <a:masterClrMapping/>
  </p:clrMapOvr>
  <p:transition spd="med">
    <p:fade/>
  </p:transition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/skilleark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tekst 27">
            <a:extLst>
              <a:ext uri="{FF2B5EF4-FFF2-40B4-BE49-F238E27FC236}">
                <a16:creationId xmlns:a16="http://schemas.microsoft.com/office/drawing/2014/main" id="{4C21F6C4-FA22-6A48-A6A0-57FCD36599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7" name="Plassholder for tittel 1">
            <a:extLst>
              <a:ext uri="{FF2B5EF4-FFF2-40B4-BE49-F238E27FC236}">
                <a16:creationId xmlns:a16="http://schemas.microsoft.com/office/drawing/2014/main" id="{76E6934E-B0C1-674C-840C-55F8584E975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DBFA5F7-9F06-4865-B793-53D4D0EA2031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9714290"/>
      </p:ext>
    </p:extLst>
  </p:cSld>
  <p:clrMapOvr>
    <a:masterClrMapping/>
  </p:clrMapOvr>
  <p:transition spd="med">
    <p:fade/>
  </p:transition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3060000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9EBE4DC-8BA7-4CDF-8986-782071135176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6038098"/>
      </p:ext>
    </p:extLst>
  </p:cSld>
  <p:clrMapOvr>
    <a:masterClrMapping/>
  </p:clrMapOvr>
  <p:transition spd="med">
    <p:fade/>
  </p:transition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bil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680048" cy="679450"/>
          </a:xfrm>
        </p:spPr>
        <p:txBody>
          <a:bodyPr/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4680048" cy="3060000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0" name="Plassholder for innhold 8">
            <a:extLst>
              <a:ext uri="{FF2B5EF4-FFF2-40B4-BE49-F238E27FC236}">
                <a16:creationId xmlns:a16="http://schemas.microsoft.com/office/drawing/2014/main" id="{FAF10D1D-B3B6-F64F-B61B-75895951B1A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00001" y="427037"/>
            <a:ext cx="3420150" cy="396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92EE2008-7AE8-4138-9F01-DD5896A06FB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6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5992343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2DD8E97-0571-4F2F-B658-84D9CCD0C09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129282148"/>
      </p:ext>
    </p:extLst>
  </p:cSld>
  <p:clrMapOvr>
    <a:masterClrMapping/>
  </p:clrMapOvr>
  <p:transition spd="med">
    <p:fade/>
  </p:transition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/innhold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innhold 6">
            <a:extLst>
              <a:ext uri="{FF2B5EF4-FFF2-40B4-BE49-F238E27FC236}">
                <a16:creationId xmlns:a16="http://schemas.microsoft.com/office/drawing/2014/main" id="{59748D5C-D6BB-F94B-A2DE-92582F5235D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0" y="11041"/>
            <a:ext cx="9144000" cy="4320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977F04AB-BF92-454D-B4D6-063EE0E0326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4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3307890"/>
      </p:ext>
    </p:extLst>
  </p:cSld>
  <p:clrMapOvr>
    <a:masterClrMapping/>
  </p:clrMapOvr>
  <p:transition spd="med">
    <p:fade/>
  </p:transition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grå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>
            <a:extLst>
              <a:ext uri="{FF2B5EF4-FFF2-40B4-BE49-F238E27FC236}">
                <a16:creationId xmlns:a16="http://schemas.microsoft.com/office/drawing/2014/main" id="{B93B1AFD-D735-CF44-B646-878433594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427517"/>
            <a:ext cx="7199312" cy="679450"/>
          </a:xfrm>
        </p:spPr>
        <p:txBody>
          <a:bodyPr/>
          <a:lstStyle>
            <a:lvl1pPr>
              <a:defRPr>
                <a:solidFill>
                  <a:srgbClr val="231464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ED6052DF-E4C6-EE44-A991-99D6B0CDD0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332000"/>
            <a:ext cx="7200900" cy="2533612"/>
          </a:xfrm>
        </p:spPr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7C38C89B-4312-DC4D-90CD-E68E9E07A2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EA1E200-36C4-465B-A4FD-0D1DD768A14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7AA34D25-197C-9249-90B5-FA714B862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1321680"/>
      </p:ext>
    </p:extLst>
  </p:cSld>
  <p:clrMapOvr>
    <a:masterClrMapping/>
  </p:clrMapOvr>
  <p:transition spd="med">
    <p:fade/>
  </p:transition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945484"/>
      </p:ext>
    </p:extLst>
  </p:cSld>
  <p:clrMapOvr>
    <a:masterClrMapping/>
  </p:clrMapOvr>
  <p:transition spd="med">
    <p:fade/>
  </p:transition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(/skillea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D8BF112E-10CF-FB45-8AFF-D20F06193A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000" y="2713484"/>
            <a:ext cx="5616152" cy="5032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Rediger tekststiler i malen</a:t>
            </a:r>
          </a:p>
        </p:txBody>
      </p:sp>
      <p:sp>
        <p:nvSpPr>
          <p:cNvPr id="29" name="Plassholder for tittel 1">
            <a:extLst>
              <a:ext uri="{FF2B5EF4-FFF2-40B4-BE49-F238E27FC236}">
                <a16:creationId xmlns:a16="http://schemas.microsoft.com/office/drawing/2014/main" id="{895B13E3-88AE-7F44-BB6B-20FD7E86486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24000" y="1806786"/>
            <a:ext cx="561615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altLang="nb-NO" dirty="0"/>
              <a:t>Klikk for å redigere tittelstil</a:t>
            </a:r>
            <a:endParaRPr lang="en-US" altLang="nb-NO" dirty="0"/>
          </a:p>
        </p:txBody>
      </p:sp>
      <p:sp>
        <p:nvSpPr>
          <p:cNvPr id="4" name="Plassholder for lysbildenummer 5">
            <a:extLst>
              <a:ext uri="{FF2B5EF4-FFF2-40B4-BE49-F238E27FC236}">
                <a16:creationId xmlns:a16="http://schemas.microsoft.com/office/drawing/2014/main" id="{6F80D0E2-9D01-5140-9D60-46E8BCC1BD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AD6B3360-292B-41B3-9265-86F0A576554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5" name="Plassholder for bunntekst 1">
            <a:extLst>
              <a:ext uri="{FF2B5EF4-FFF2-40B4-BE49-F238E27FC236}">
                <a16:creationId xmlns:a16="http://schemas.microsoft.com/office/drawing/2014/main" id="{31A65C89-CCFA-1749-A2FF-C3F95C85730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9397503"/>
      </p:ext>
    </p:extLst>
  </p:cSld>
  <p:clrMapOvr>
    <a:masterClrMapping/>
  </p:clrMapOvr>
  <p:transition spd="med">
    <p:fade/>
  </p:transition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89475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75707B9-8411-4ED3-86CA-0AA56EA9143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50257918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550225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3643295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01075742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15C16EB6-3229-4177-B959-FEFE08B4B1B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5920104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3"/>
          <p:cNvSpPr txBox="1">
            <a:spLocks/>
          </p:cNvSpPr>
          <p:nvPr userDrawn="1"/>
        </p:nvSpPr>
        <p:spPr bwMode="auto">
          <a:xfrm>
            <a:off x="8826500" y="5521325"/>
            <a:ext cx="3159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4572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9144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3716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1828800" eaLnBrk="0" hangingPunct="0"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indent="131763" defTabSz="8477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4F56A4D7-B585-4340-8601-788E26F6F3EB}" type="slidenum">
              <a:rPr lang="nb-NO" altLang="nn-NO" sz="800" b="1">
                <a:solidFill>
                  <a:srgbClr val="747474"/>
                </a:solidFill>
                <a:cs typeface="Calibri" panose="020F0502020204030204" pitchFamily="34" charset="0"/>
              </a:rPr>
              <a:pPr algn="ctr" eaLnBrk="1" hangingPunct="1"/>
              <a:t>‹#›</a:t>
            </a:fld>
            <a:endParaRPr lang="nb-NO" altLang="nn-NO" sz="800" b="1">
              <a:solidFill>
                <a:srgbClr val="747474"/>
              </a:solidFill>
              <a:cs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90" y="137586"/>
            <a:ext cx="8508023" cy="315000"/>
          </a:xfrm>
        </p:spPr>
        <p:txBody>
          <a:bodyPr/>
          <a:lstStyle>
            <a:lvl1pPr>
              <a:defRPr sz="2400">
                <a:solidFill>
                  <a:srgbClr val="231464"/>
                </a:solidFill>
              </a:defRPr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17990" y="467422"/>
            <a:ext cx="8508023" cy="240000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solidFill>
                  <a:srgbClr val="231464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317990" y="5520532"/>
            <a:ext cx="8508023" cy="194468"/>
          </a:xfrm>
        </p:spPr>
        <p:txBody>
          <a:bodyPr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700" i="1" baseline="0" dirty="0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489913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>
              <a:defRPr>
                <a:cs typeface="Arial" panose="020B0604020202020204" pitchFamily="34" charset="0"/>
              </a:defRPr>
            </a:lvl1pPr>
          </a:lstStyle>
          <a:p>
            <a:fld id="{589C8376-3667-4D4E-8E07-F58F63D3F43E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31103062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C246C44-F708-447C-A69A-4C4874CC12E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41135146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82910236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FEEE57E5-7DF4-4AAB-ABB4-F7849E0CC97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211206105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C6C3144-C2D6-4840-AE53-20568BD5D86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96203518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symbo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0C435E0-CE09-4C9C-971F-33550D94FF6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98107430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238"/>
            <a:ext cx="7020260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22657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321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34" y="2465913"/>
            <a:ext cx="8496944" cy="461665"/>
          </a:xfrm>
        </p:spPr>
        <p:txBody>
          <a:bodyPr>
            <a:spAutoFit/>
          </a:bodyPr>
          <a:lstStyle>
            <a:lvl1pPr algn="ctr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rgbClr val="828E8C"/>
                </a:solidFill>
                <a:latin typeface="Calibri"/>
                <a:cs typeface="Calibri"/>
              </a:defRPr>
            </a:lvl1pPr>
            <a:lvl2pPr marL="421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5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7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090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0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2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4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43681046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tel, innhold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2"/>
          </p:nvPr>
        </p:nvSpPr>
        <p:spPr>
          <a:xfrm>
            <a:off x="4648200" y="1333502"/>
            <a:ext cx="4038600" cy="182165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3"/>
          </p:nvPr>
        </p:nvSpPr>
        <p:spPr>
          <a:xfrm>
            <a:off x="4648200" y="3282175"/>
            <a:ext cx="4038600" cy="182297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algn="ctr" defTabSz="842374"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algn="r" defTabSz="841375">
              <a:defRPr/>
            </a:lvl1pPr>
          </a:lstStyle>
          <a:p>
            <a:fld id="{60B9A64B-C5E4-4E7F-B8AA-6EDC4AB45F21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9166030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lIns="90859" tIns="45434" rIns="90859" bIns="45434"/>
          <a:lstStyle>
            <a:lvl1pPr defTabSz="842374">
              <a:defRPr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B0A7CC-1ACA-41DA-A153-C36B1B52435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35527722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 anchor="ctr"/>
          <a:lstStyle>
            <a:lvl1pPr algn="ctr"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2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3495843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 lang="nb-NO" sz="1800" kern="1200" dirty="0" err="1" smtClean="0">
                <a:solidFill>
                  <a:srgbClr val="616366"/>
                </a:solidFill>
                <a:latin typeface="Calibri"/>
                <a:ea typeface="+mn-ea"/>
                <a:cs typeface="Calibri"/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FAF711F7-2AD5-43AE-8AC0-E8FC8D8D0C6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034708782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1EB54B-1668-4B13-9741-2375F0215700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840145601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SzPct val="85000"/>
              <a:buFont typeface="Arial" panose="020B0604020202020204" pitchFamily="34" charset="0"/>
              <a:buChar char="•"/>
              <a:defRPr lang="nb-NO" sz="1800" kern="1200" dirty="0" err="1" smtClean="0">
                <a:solidFill>
                  <a:srgbClr val="555859"/>
                </a:solidFill>
                <a:latin typeface="Calibri"/>
                <a:ea typeface="+mn-ea"/>
                <a:cs typeface="Calibri"/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8D4A269F-7433-4561-96F2-8AFD0F81950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12775759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317765"/>
            <a:ext cx="3970800" cy="3863283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4716463" y="1317628"/>
            <a:ext cx="3040062" cy="3863975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  <a:endParaRPr lang="nb-NO" noProof="0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1A57261E-FE64-481B-836C-F160F1D5F90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00785833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317765"/>
            <a:ext cx="3970800" cy="3863283"/>
          </a:xfrm>
        </p:spPr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4716463" y="1317628"/>
            <a:ext cx="3040062" cy="3863975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  <a:endParaRPr lang="nb-NO" noProof="0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273B0C3F-C0C2-4297-8032-C2698C3F8E3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40998096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malside uten lyssp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7A546D8C-0E3A-4267-A4CC-9F9E06AAA906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942613538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9CCCF30E-1008-4F18-B61B-71876B77D34E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126889379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62321861-7500-4A01-B2D0-AA72559B604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333732070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E9B5D1AA-343A-4B88-B4D5-1B724907F9FE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93516247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746"/>
            <a:ext cx="7020260" cy="461665"/>
          </a:xfrm>
        </p:spPr>
        <p:txBody>
          <a:bodyPr/>
          <a:lstStyle>
            <a:lvl1pPr algn="ctr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599287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0490594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457200" y="5297488"/>
            <a:ext cx="2133600" cy="304800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solidFill>
                  <a:srgbClr val="323232"/>
                </a:solidFill>
                <a:cs typeface="Arial" charset="0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C58872-2121-4164-BF41-5BD0A8E998AA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200802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489350"/>
            <a:ext cx="397080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Plassholder for innhold 2"/>
          <p:cNvSpPr>
            <a:spLocks noGrp="1"/>
          </p:cNvSpPr>
          <p:nvPr>
            <p:ph idx="13"/>
          </p:nvPr>
        </p:nvSpPr>
        <p:spPr>
          <a:xfrm>
            <a:off x="4716016" y="1486942"/>
            <a:ext cx="3041270" cy="3688844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316ECE8C-3614-47CD-9DCA-BC43E03AC98A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785940181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8" y="2465913"/>
            <a:ext cx="8496944" cy="461665"/>
          </a:xfrm>
        </p:spPr>
        <p:txBody>
          <a:bodyPr anchor="ctr"/>
          <a:lstStyle>
            <a:lvl1pPr algn="ctr"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1596" y="1351845"/>
            <a:ext cx="4056628" cy="959266"/>
          </a:xfrm>
        </p:spPr>
        <p:txBody>
          <a:bodyPr anchor="b">
            <a:no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2"/>
                </a:solidFill>
                <a:latin typeface="Calibri"/>
                <a:cs typeface="Calibri"/>
              </a:defRPr>
            </a:lvl1pPr>
            <a:lvl2pPr marL="424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8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734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979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22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4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7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95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84462934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700"/>
              </a:spcBef>
              <a:buSzPct val="85000"/>
              <a:buFont typeface="Calibri" panose="020F0502020204030204" pitchFamily="34" charset="0"/>
              <a:buNone/>
              <a:defRPr lang="nb-NO" sz="1800" kern="1200" dirty="0" err="1" smtClean="0">
                <a:solidFill>
                  <a:srgbClr val="616366"/>
                </a:solidFill>
                <a:latin typeface="Calibri"/>
                <a:ea typeface="+mn-ea"/>
                <a:cs typeface="Calibri"/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62F1F3B5-F518-40A9-BDAC-62DD8DDCB96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235722912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SzPct val="85000"/>
              <a:buFont typeface="Arial" panose="020B0604020202020204" pitchFamily="34" charset="0"/>
              <a:buChar char="•"/>
              <a:defRPr lang="nb-NO" sz="1800" kern="1200" dirty="0" err="1" smtClean="0">
                <a:solidFill>
                  <a:srgbClr val="555859"/>
                </a:solidFill>
                <a:latin typeface="Calibri"/>
                <a:ea typeface="+mn-ea"/>
                <a:cs typeface="Calibri"/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61500FEA-DE78-4A08-BED1-A18BEB6B7ED1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38744850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317765"/>
            <a:ext cx="3970800" cy="3863283"/>
          </a:xfrm>
        </p:spPr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4716463" y="1317628"/>
            <a:ext cx="3040062" cy="3863975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  <a:endParaRPr lang="nb-NO" noProof="0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88B4F290-F226-4E3B-BEE7-2698ADDC2A87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01048654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o innholdsbokser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60758" y="1317765"/>
            <a:ext cx="3970800" cy="3863283"/>
          </a:xfrm>
        </p:spPr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4"/>
          </p:nvPr>
        </p:nvSpPr>
        <p:spPr>
          <a:xfrm>
            <a:off x="4716463" y="1317628"/>
            <a:ext cx="3040062" cy="3863975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/>
              <a:t>Click icon to add picture</a:t>
            </a:r>
            <a:endParaRPr lang="nb-NO" noProof="0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6F7F3BBB-D44F-44E1-A460-6BA0FFBE47B2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61409349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malside uten lyssp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00"/>
              </a:spcBef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61876F34-D617-4E5A-8C9C-0F20C2016D59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28417805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lside uten lysspill m/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5750" indent="-285750">
              <a:spcBef>
                <a:spcPts val="7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>
                <a:solidFill>
                  <a:srgbClr val="555859"/>
                </a:solidFill>
              </a:defRPr>
            </a:lvl1pPr>
            <a:lvl2pPr>
              <a:defRPr>
                <a:solidFill>
                  <a:srgbClr val="555859"/>
                </a:solidFill>
              </a:defRPr>
            </a:lvl2pPr>
            <a:lvl3pPr>
              <a:defRPr>
                <a:solidFill>
                  <a:srgbClr val="555859"/>
                </a:solidFill>
              </a:defRPr>
            </a:lvl3pPr>
            <a:lvl4pPr>
              <a:defRPr>
                <a:solidFill>
                  <a:srgbClr val="555859"/>
                </a:solidFill>
              </a:defRPr>
            </a:lvl4pPr>
            <a:lvl5pPr>
              <a:defRPr>
                <a:solidFill>
                  <a:srgbClr val="555859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D1E7844D-1375-48B9-8320-ADFA16D95A53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950575325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4B4AADD9-65B7-432A-BCF1-B58740A142DB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67988019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bunn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fld id="{00520E57-A28A-49AA-A39A-15D01B4E7378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992646687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5058" y="2436588"/>
            <a:ext cx="7020260" cy="461665"/>
          </a:xfrm>
        </p:spPr>
        <p:txBody>
          <a:bodyPr/>
          <a:lstStyle>
            <a:lvl1pPr algn="ctr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47462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8.jpeg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image" Target="../media/image6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8.jpe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image" Target="../media/image6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8.jpeg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image" Target="../media/image6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7.xml"/><Relationship Id="rId9" Type="http://schemas.openxmlformats.org/officeDocument/2006/relationships/image" Target="../media/image1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34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43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142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50.xml"/><Relationship Id="rId9" Type="http://schemas.openxmlformats.org/officeDocument/2006/relationships/image" Target="../media/image1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5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6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185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93.xml"/><Relationship Id="rId9" Type="http://schemas.openxmlformats.org/officeDocument/2006/relationships/image" Target="../media/image14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201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200.xml"/><Relationship Id="rId9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heme" Target="../theme/theme23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8.xml"/><Relationship Id="rId9" Type="http://schemas.openxmlformats.org/officeDocument/2006/relationships/image" Target="../media/image1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18.xml"/><Relationship Id="rId12" Type="http://schemas.openxmlformats.org/officeDocument/2006/relationships/image" Target="../media/image11.jpeg"/><Relationship Id="rId2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theme" Target="../theme/theme24.xml"/><Relationship Id="rId5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21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theme" Target="../theme/theme25.xml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5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225.xml"/><Relationship Id="rId9" Type="http://schemas.openxmlformats.org/officeDocument/2006/relationships/image" Target="../media/image1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231.xml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33.xml"/><Relationship Id="rId10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0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255.xml"/><Relationship Id="rId7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53.xml"/><Relationship Id="rId6" Type="http://schemas.openxmlformats.org/officeDocument/2006/relationships/slideLayout" Target="../slideLayouts/slideLayout258.xml"/><Relationship Id="rId11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57.xml"/><Relationship Id="rId10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56.xml"/><Relationship Id="rId9" Type="http://schemas.openxmlformats.org/officeDocument/2006/relationships/slideLayout" Target="../slideLayouts/slideLayout261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0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theme" Target="../theme/theme31.xml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3.xml"/><Relationship Id="rId10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8.xml"/><Relationship Id="rId13" Type="http://schemas.openxmlformats.org/officeDocument/2006/relationships/theme" Target="../theme/theme32.xml"/><Relationship Id="rId3" Type="http://schemas.openxmlformats.org/officeDocument/2006/relationships/slideLayout" Target="../slideLayouts/slideLayout303.xml"/><Relationship Id="rId7" Type="http://schemas.openxmlformats.org/officeDocument/2006/relationships/slideLayout" Target="../slideLayouts/slideLayout307.xml"/><Relationship Id="rId12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05.xml"/><Relationship Id="rId10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theme" Target="../theme/theme33.xml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2" Type="http://schemas.openxmlformats.org/officeDocument/2006/relationships/slideLayout" Target="../slideLayouts/slideLayout314.xml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2.xml"/><Relationship Id="rId13" Type="http://schemas.openxmlformats.org/officeDocument/2006/relationships/theme" Target="../theme/theme34.xml"/><Relationship Id="rId3" Type="http://schemas.openxmlformats.org/officeDocument/2006/relationships/slideLayout" Target="../slideLayouts/slideLayout327.xml"/><Relationship Id="rId7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36.xml"/><Relationship Id="rId2" Type="http://schemas.openxmlformats.org/officeDocument/2006/relationships/slideLayout" Target="../slideLayouts/slideLayout326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Relationship Id="rId11" Type="http://schemas.openxmlformats.org/officeDocument/2006/relationships/slideLayout" Target="../slideLayouts/slideLayout335.xml"/><Relationship Id="rId5" Type="http://schemas.openxmlformats.org/officeDocument/2006/relationships/slideLayout" Target="../slideLayouts/slideLayout329.xml"/><Relationship Id="rId10" Type="http://schemas.openxmlformats.org/officeDocument/2006/relationships/slideLayout" Target="../slideLayouts/slideLayout334.xml"/><Relationship Id="rId4" Type="http://schemas.openxmlformats.org/officeDocument/2006/relationships/slideLayout" Target="../slideLayouts/slideLayout328.xml"/><Relationship Id="rId9" Type="http://schemas.openxmlformats.org/officeDocument/2006/relationships/slideLayout" Target="../slideLayouts/slideLayout333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theme" Target="../theme/theme35.xml"/><Relationship Id="rId3" Type="http://schemas.openxmlformats.org/officeDocument/2006/relationships/slideLayout" Target="../slideLayouts/slideLayout339.xml"/><Relationship Id="rId7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48.xml"/><Relationship Id="rId2" Type="http://schemas.openxmlformats.org/officeDocument/2006/relationships/slideLayout" Target="../slideLayouts/slideLayout338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slideLayout" Target="../slideLayouts/slideLayout347.xml"/><Relationship Id="rId5" Type="http://schemas.openxmlformats.org/officeDocument/2006/relationships/slideLayout" Target="../slideLayouts/slideLayout341.xml"/><Relationship Id="rId10" Type="http://schemas.openxmlformats.org/officeDocument/2006/relationships/slideLayout" Target="../slideLayouts/slideLayout346.xml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13" Type="http://schemas.openxmlformats.org/officeDocument/2006/relationships/theme" Target="../theme/theme3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12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59.xml"/><Relationship Id="rId5" Type="http://schemas.openxmlformats.org/officeDocument/2006/relationships/slideLayout" Target="../slideLayouts/slideLayout353.xml"/><Relationship Id="rId10" Type="http://schemas.openxmlformats.org/officeDocument/2006/relationships/slideLayout" Target="../slideLayouts/slideLayout358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8.xml"/><Relationship Id="rId13" Type="http://schemas.openxmlformats.org/officeDocument/2006/relationships/theme" Target="../theme/theme37.xml"/><Relationship Id="rId3" Type="http://schemas.openxmlformats.org/officeDocument/2006/relationships/slideLayout" Target="../slideLayouts/slideLayout363.xml"/><Relationship Id="rId7" Type="http://schemas.openxmlformats.org/officeDocument/2006/relationships/slideLayout" Target="../slideLayouts/slideLayout367.xml"/><Relationship Id="rId12" Type="http://schemas.openxmlformats.org/officeDocument/2006/relationships/slideLayout" Target="../slideLayouts/slideLayout372.xml"/><Relationship Id="rId2" Type="http://schemas.openxmlformats.org/officeDocument/2006/relationships/slideLayout" Target="../slideLayouts/slideLayout362.xml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1" Type="http://schemas.openxmlformats.org/officeDocument/2006/relationships/slideLayout" Target="../slideLayouts/slideLayout371.xml"/><Relationship Id="rId5" Type="http://schemas.openxmlformats.org/officeDocument/2006/relationships/slideLayout" Target="../slideLayouts/slideLayout365.xml"/><Relationship Id="rId10" Type="http://schemas.openxmlformats.org/officeDocument/2006/relationships/slideLayout" Target="../slideLayouts/slideLayout370.xml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image" Target="../media/image11.jpeg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theme" Target="../theme/theme38.xml"/><Relationship Id="rId5" Type="http://schemas.openxmlformats.org/officeDocument/2006/relationships/slideLayout" Target="../slideLayouts/slideLayout377.xml"/><Relationship Id="rId10" Type="http://schemas.openxmlformats.org/officeDocument/2006/relationships/slideLayout" Target="../slideLayouts/slideLayout382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0.xml"/><Relationship Id="rId3" Type="http://schemas.openxmlformats.org/officeDocument/2006/relationships/slideLayout" Target="../slideLayouts/slideLayout385.xml"/><Relationship Id="rId7" Type="http://schemas.openxmlformats.org/officeDocument/2006/relationships/slideLayout" Target="../slideLayouts/slideLayout389.xml"/><Relationship Id="rId2" Type="http://schemas.openxmlformats.org/officeDocument/2006/relationships/slideLayout" Target="../slideLayouts/slideLayout384.xml"/><Relationship Id="rId1" Type="http://schemas.openxmlformats.org/officeDocument/2006/relationships/slideLayout" Target="../slideLayouts/slideLayout383.xml"/><Relationship Id="rId6" Type="http://schemas.openxmlformats.org/officeDocument/2006/relationships/slideLayout" Target="../slideLayouts/slideLayout388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387.xml"/><Relationship Id="rId10" Type="http://schemas.openxmlformats.org/officeDocument/2006/relationships/theme" Target="../theme/theme39.xml"/><Relationship Id="rId4" Type="http://schemas.openxmlformats.org/officeDocument/2006/relationships/slideLayout" Target="../slideLayouts/slideLayout386.xml"/><Relationship Id="rId9" Type="http://schemas.openxmlformats.org/officeDocument/2006/relationships/slideLayout" Target="../slideLayouts/slideLayout39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.jpe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13" Type="http://schemas.openxmlformats.org/officeDocument/2006/relationships/theme" Target="../theme/theme40.xml"/><Relationship Id="rId3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398.xml"/><Relationship Id="rId12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393.xml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11" Type="http://schemas.openxmlformats.org/officeDocument/2006/relationships/slideLayout" Target="../slideLayouts/slideLayout402.xml"/><Relationship Id="rId5" Type="http://schemas.openxmlformats.org/officeDocument/2006/relationships/slideLayout" Target="../slideLayouts/slideLayout396.xml"/><Relationship Id="rId10" Type="http://schemas.openxmlformats.org/officeDocument/2006/relationships/slideLayout" Target="../slideLayouts/slideLayout401.xml"/><Relationship Id="rId4" Type="http://schemas.openxmlformats.org/officeDocument/2006/relationships/slideLayout" Target="../slideLayouts/slideLayout395.xml"/><Relationship Id="rId9" Type="http://schemas.openxmlformats.org/officeDocument/2006/relationships/slideLayout" Target="../slideLayouts/slideLayout40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1.xml"/><Relationship Id="rId13" Type="http://schemas.openxmlformats.org/officeDocument/2006/relationships/theme" Target="../theme/theme41.xml"/><Relationship Id="rId3" Type="http://schemas.openxmlformats.org/officeDocument/2006/relationships/slideLayout" Target="../slideLayouts/slideLayout406.xml"/><Relationship Id="rId7" Type="http://schemas.openxmlformats.org/officeDocument/2006/relationships/slideLayout" Target="../slideLayouts/slideLayout410.xml"/><Relationship Id="rId12" Type="http://schemas.openxmlformats.org/officeDocument/2006/relationships/slideLayout" Target="../slideLayouts/slideLayout415.xml"/><Relationship Id="rId2" Type="http://schemas.openxmlformats.org/officeDocument/2006/relationships/slideLayout" Target="../slideLayouts/slideLayout405.xml"/><Relationship Id="rId1" Type="http://schemas.openxmlformats.org/officeDocument/2006/relationships/slideLayout" Target="../slideLayouts/slideLayout404.xml"/><Relationship Id="rId6" Type="http://schemas.openxmlformats.org/officeDocument/2006/relationships/slideLayout" Target="../slideLayouts/slideLayout409.xml"/><Relationship Id="rId11" Type="http://schemas.openxmlformats.org/officeDocument/2006/relationships/slideLayout" Target="../slideLayouts/slideLayout414.xml"/><Relationship Id="rId5" Type="http://schemas.openxmlformats.org/officeDocument/2006/relationships/slideLayout" Target="../slideLayouts/slideLayout408.xml"/><Relationship Id="rId10" Type="http://schemas.openxmlformats.org/officeDocument/2006/relationships/slideLayout" Target="../slideLayouts/slideLayout413.xml"/><Relationship Id="rId4" Type="http://schemas.openxmlformats.org/officeDocument/2006/relationships/slideLayout" Target="../slideLayouts/slideLayout407.xml"/><Relationship Id="rId9" Type="http://schemas.openxmlformats.org/officeDocument/2006/relationships/slideLayout" Target="../slideLayouts/slideLayout412.xml"/><Relationship Id="rId14" Type="http://schemas.openxmlformats.org/officeDocument/2006/relationships/image" Target="../media/image11.jpe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theme" Target="../theme/theme42.xml"/><Relationship Id="rId3" Type="http://schemas.openxmlformats.org/officeDocument/2006/relationships/slideLayout" Target="../slideLayouts/slideLayout418.xml"/><Relationship Id="rId7" Type="http://schemas.openxmlformats.org/officeDocument/2006/relationships/slideLayout" Target="../slideLayouts/slideLayout422.xml"/><Relationship Id="rId2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416.xml"/><Relationship Id="rId6" Type="http://schemas.openxmlformats.org/officeDocument/2006/relationships/slideLayout" Target="../slideLayouts/slideLayout421.xml"/><Relationship Id="rId5" Type="http://schemas.openxmlformats.org/officeDocument/2006/relationships/slideLayout" Target="../slideLayouts/slideLayout420.xml"/><Relationship Id="rId4" Type="http://schemas.openxmlformats.org/officeDocument/2006/relationships/slideLayout" Target="../slideLayouts/slideLayout419.xml"/><Relationship Id="rId9" Type="http://schemas.openxmlformats.org/officeDocument/2006/relationships/image" Target="../media/image18.jpe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0.xml"/><Relationship Id="rId13" Type="http://schemas.openxmlformats.org/officeDocument/2006/relationships/theme" Target="../theme/theme43.xml"/><Relationship Id="rId3" Type="http://schemas.openxmlformats.org/officeDocument/2006/relationships/slideLayout" Target="../slideLayouts/slideLayout425.xml"/><Relationship Id="rId7" Type="http://schemas.openxmlformats.org/officeDocument/2006/relationships/slideLayout" Target="../slideLayouts/slideLayout429.xml"/><Relationship Id="rId12" Type="http://schemas.openxmlformats.org/officeDocument/2006/relationships/slideLayout" Target="../slideLayouts/slideLayout434.xml"/><Relationship Id="rId2" Type="http://schemas.openxmlformats.org/officeDocument/2006/relationships/slideLayout" Target="../slideLayouts/slideLayout424.xml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slideLayout" Target="../slideLayouts/slideLayout433.xml"/><Relationship Id="rId5" Type="http://schemas.openxmlformats.org/officeDocument/2006/relationships/slideLayout" Target="../slideLayouts/slideLayout427.xml"/><Relationship Id="rId10" Type="http://schemas.openxmlformats.org/officeDocument/2006/relationships/slideLayout" Target="../slideLayouts/slideLayout432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image" Target="../media/image11.jpe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2.xml"/><Relationship Id="rId13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37.xml"/><Relationship Id="rId7" Type="http://schemas.openxmlformats.org/officeDocument/2006/relationships/slideLayout" Target="../slideLayouts/slideLayout441.xml"/><Relationship Id="rId12" Type="http://schemas.openxmlformats.org/officeDocument/2006/relationships/slideLayout" Target="../slideLayouts/slideLayout446.xml"/><Relationship Id="rId17" Type="http://schemas.openxmlformats.org/officeDocument/2006/relationships/image" Target="../media/image11.jpeg"/><Relationship Id="rId2" Type="http://schemas.openxmlformats.org/officeDocument/2006/relationships/slideLayout" Target="../slideLayouts/slideLayout436.xml"/><Relationship Id="rId16" Type="http://schemas.openxmlformats.org/officeDocument/2006/relationships/theme" Target="../theme/theme44.xml"/><Relationship Id="rId1" Type="http://schemas.openxmlformats.org/officeDocument/2006/relationships/slideLayout" Target="../slideLayouts/slideLayout435.xml"/><Relationship Id="rId6" Type="http://schemas.openxmlformats.org/officeDocument/2006/relationships/slideLayout" Target="../slideLayouts/slideLayout440.xml"/><Relationship Id="rId11" Type="http://schemas.openxmlformats.org/officeDocument/2006/relationships/slideLayout" Target="../slideLayouts/slideLayout445.xml"/><Relationship Id="rId5" Type="http://schemas.openxmlformats.org/officeDocument/2006/relationships/slideLayout" Target="../slideLayouts/slideLayout439.xml"/><Relationship Id="rId15" Type="http://schemas.openxmlformats.org/officeDocument/2006/relationships/slideLayout" Target="../slideLayouts/slideLayout449.xml"/><Relationship Id="rId10" Type="http://schemas.openxmlformats.org/officeDocument/2006/relationships/slideLayout" Target="../slideLayouts/slideLayout444.xml"/><Relationship Id="rId4" Type="http://schemas.openxmlformats.org/officeDocument/2006/relationships/slideLayout" Target="../slideLayouts/slideLayout438.xml"/><Relationship Id="rId9" Type="http://schemas.openxmlformats.org/officeDocument/2006/relationships/slideLayout" Target="../slideLayouts/slideLayout443.xml"/><Relationship Id="rId14" Type="http://schemas.openxmlformats.org/officeDocument/2006/relationships/slideLayout" Target="../slideLayouts/slideLayout448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7.xml"/><Relationship Id="rId3" Type="http://schemas.openxmlformats.org/officeDocument/2006/relationships/slideLayout" Target="../slideLayouts/slideLayout452.xml"/><Relationship Id="rId7" Type="http://schemas.openxmlformats.org/officeDocument/2006/relationships/slideLayout" Target="../slideLayouts/slideLayout456.xml"/><Relationship Id="rId12" Type="http://schemas.openxmlformats.org/officeDocument/2006/relationships/theme" Target="../theme/theme45.xml"/><Relationship Id="rId2" Type="http://schemas.openxmlformats.org/officeDocument/2006/relationships/slideLayout" Target="../slideLayouts/slideLayout451.xml"/><Relationship Id="rId1" Type="http://schemas.openxmlformats.org/officeDocument/2006/relationships/slideLayout" Target="../slideLayouts/slideLayout450.xml"/><Relationship Id="rId6" Type="http://schemas.openxmlformats.org/officeDocument/2006/relationships/slideLayout" Target="../slideLayouts/slideLayout455.xml"/><Relationship Id="rId11" Type="http://schemas.openxmlformats.org/officeDocument/2006/relationships/slideLayout" Target="../slideLayouts/slideLayout460.xml"/><Relationship Id="rId5" Type="http://schemas.openxmlformats.org/officeDocument/2006/relationships/slideLayout" Target="../slideLayouts/slideLayout454.xml"/><Relationship Id="rId10" Type="http://schemas.openxmlformats.org/officeDocument/2006/relationships/slideLayout" Target="../slideLayouts/slideLayout459.xml"/><Relationship Id="rId4" Type="http://schemas.openxmlformats.org/officeDocument/2006/relationships/slideLayout" Target="../slideLayouts/slideLayout453.xml"/><Relationship Id="rId9" Type="http://schemas.openxmlformats.org/officeDocument/2006/relationships/slideLayout" Target="../slideLayouts/slideLayout458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8.xml"/><Relationship Id="rId13" Type="http://schemas.openxmlformats.org/officeDocument/2006/relationships/slideLayout" Target="../slideLayouts/slideLayout473.xml"/><Relationship Id="rId3" Type="http://schemas.openxmlformats.org/officeDocument/2006/relationships/slideLayout" Target="../slideLayouts/slideLayout463.xml"/><Relationship Id="rId7" Type="http://schemas.openxmlformats.org/officeDocument/2006/relationships/slideLayout" Target="../slideLayouts/slideLayout467.xml"/><Relationship Id="rId12" Type="http://schemas.openxmlformats.org/officeDocument/2006/relationships/slideLayout" Target="../slideLayouts/slideLayout472.xml"/><Relationship Id="rId17" Type="http://schemas.openxmlformats.org/officeDocument/2006/relationships/image" Target="../media/image11.jpeg"/><Relationship Id="rId2" Type="http://schemas.openxmlformats.org/officeDocument/2006/relationships/slideLayout" Target="../slideLayouts/slideLayout462.xml"/><Relationship Id="rId16" Type="http://schemas.openxmlformats.org/officeDocument/2006/relationships/theme" Target="../theme/theme46.xml"/><Relationship Id="rId1" Type="http://schemas.openxmlformats.org/officeDocument/2006/relationships/slideLayout" Target="../slideLayouts/slideLayout461.xml"/><Relationship Id="rId6" Type="http://schemas.openxmlformats.org/officeDocument/2006/relationships/slideLayout" Target="../slideLayouts/slideLayout466.xml"/><Relationship Id="rId11" Type="http://schemas.openxmlformats.org/officeDocument/2006/relationships/slideLayout" Target="../slideLayouts/slideLayout471.xml"/><Relationship Id="rId5" Type="http://schemas.openxmlformats.org/officeDocument/2006/relationships/slideLayout" Target="../slideLayouts/slideLayout465.xml"/><Relationship Id="rId15" Type="http://schemas.openxmlformats.org/officeDocument/2006/relationships/slideLayout" Target="../slideLayouts/slideLayout475.xml"/><Relationship Id="rId10" Type="http://schemas.openxmlformats.org/officeDocument/2006/relationships/slideLayout" Target="../slideLayouts/slideLayout470.xml"/><Relationship Id="rId4" Type="http://schemas.openxmlformats.org/officeDocument/2006/relationships/slideLayout" Target="../slideLayouts/slideLayout464.xml"/><Relationship Id="rId9" Type="http://schemas.openxmlformats.org/officeDocument/2006/relationships/slideLayout" Target="../slideLayouts/slideLayout469.xml"/><Relationship Id="rId14" Type="http://schemas.openxmlformats.org/officeDocument/2006/relationships/slideLayout" Target="../slideLayouts/slideLayout474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3.xml"/><Relationship Id="rId3" Type="http://schemas.openxmlformats.org/officeDocument/2006/relationships/slideLayout" Target="../slideLayouts/slideLayout478.xml"/><Relationship Id="rId7" Type="http://schemas.openxmlformats.org/officeDocument/2006/relationships/slideLayout" Target="../slideLayouts/slideLayout482.xml"/><Relationship Id="rId12" Type="http://schemas.openxmlformats.org/officeDocument/2006/relationships/image" Target="../media/image11.jpeg"/><Relationship Id="rId2" Type="http://schemas.openxmlformats.org/officeDocument/2006/relationships/slideLayout" Target="../slideLayouts/slideLayout477.xml"/><Relationship Id="rId1" Type="http://schemas.openxmlformats.org/officeDocument/2006/relationships/slideLayout" Target="../slideLayouts/slideLayout476.xml"/><Relationship Id="rId6" Type="http://schemas.openxmlformats.org/officeDocument/2006/relationships/slideLayout" Target="../slideLayouts/slideLayout481.xml"/><Relationship Id="rId11" Type="http://schemas.openxmlformats.org/officeDocument/2006/relationships/theme" Target="../theme/theme47.xml"/><Relationship Id="rId5" Type="http://schemas.openxmlformats.org/officeDocument/2006/relationships/slideLayout" Target="../slideLayouts/slideLayout480.xml"/><Relationship Id="rId10" Type="http://schemas.openxmlformats.org/officeDocument/2006/relationships/slideLayout" Target="../slideLayouts/slideLayout485.xml"/><Relationship Id="rId4" Type="http://schemas.openxmlformats.org/officeDocument/2006/relationships/slideLayout" Target="../slideLayouts/slideLayout479.xml"/><Relationship Id="rId9" Type="http://schemas.openxmlformats.org/officeDocument/2006/relationships/slideLayout" Target="../slideLayouts/slideLayout484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3.xml"/><Relationship Id="rId3" Type="http://schemas.openxmlformats.org/officeDocument/2006/relationships/slideLayout" Target="../slideLayouts/slideLayout488.xml"/><Relationship Id="rId7" Type="http://schemas.openxmlformats.org/officeDocument/2006/relationships/slideLayout" Target="../slideLayouts/slideLayout492.xml"/><Relationship Id="rId2" Type="http://schemas.openxmlformats.org/officeDocument/2006/relationships/slideLayout" Target="../slideLayouts/slideLayout487.xml"/><Relationship Id="rId1" Type="http://schemas.openxmlformats.org/officeDocument/2006/relationships/slideLayout" Target="../slideLayouts/slideLayout486.xml"/><Relationship Id="rId6" Type="http://schemas.openxmlformats.org/officeDocument/2006/relationships/slideLayout" Target="../slideLayouts/slideLayout491.xml"/><Relationship Id="rId5" Type="http://schemas.openxmlformats.org/officeDocument/2006/relationships/slideLayout" Target="../slideLayouts/slideLayout490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489.xml"/><Relationship Id="rId9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96.xml"/><Relationship Id="rId7" Type="http://schemas.openxmlformats.org/officeDocument/2006/relationships/slideLayout" Target="../slideLayouts/slideLayout500.xml"/><Relationship Id="rId2" Type="http://schemas.openxmlformats.org/officeDocument/2006/relationships/slideLayout" Target="../slideLayouts/slideLayout495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98.xml"/><Relationship Id="rId10" Type="http://schemas.openxmlformats.org/officeDocument/2006/relationships/theme" Target="../theme/theme49.xml"/><Relationship Id="rId4" Type="http://schemas.openxmlformats.org/officeDocument/2006/relationships/slideLayout" Target="../slideLayouts/slideLayout497.xml"/><Relationship Id="rId9" Type="http://schemas.openxmlformats.org/officeDocument/2006/relationships/slideLayout" Target="../slideLayouts/slideLayout50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jpeg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theme" Target="../theme/theme50.xml"/><Relationship Id="rId3" Type="http://schemas.openxmlformats.org/officeDocument/2006/relationships/slideLayout" Target="../slideLayouts/slideLayout505.xml"/><Relationship Id="rId7" Type="http://schemas.openxmlformats.org/officeDocument/2006/relationships/slideLayout" Target="../slideLayouts/slideLayout509.xml"/><Relationship Id="rId2" Type="http://schemas.openxmlformats.org/officeDocument/2006/relationships/slideLayout" Target="../slideLayouts/slideLayout504.xml"/><Relationship Id="rId1" Type="http://schemas.openxmlformats.org/officeDocument/2006/relationships/slideLayout" Target="../slideLayouts/slideLayout503.xml"/><Relationship Id="rId6" Type="http://schemas.openxmlformats.org/officeDocument/2006/relationships/slideLayout" Target="../slideLayouts/slideLayout508.xml"/><Relationship Id="rId5" Type="http://schemas.openxmlformats.org/officeDocument/2006/relationships/slideLayout" Target="../slideLayouts/slideLayout507.xml"/><Relationship Id="rId4" Type="http://schemas.openxmlformats.org/officeDocument/2006/relationships/slideLayout" Target="../slideLayouts/slideLayout506.xml"/><Relationship Id="rId9" Type="http://schemas.openxmlformats.org/officeDocument/2006/relationships/image" Target="../media/image18.jpeg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7.xml"/><Relationship Id="rId3" Type="http://schemas.openxmlformats.org/officeDocument/2006/relationships/slideLayout" Target="../slideLayouts/slideLayout512.xml"/><Relationship Id="rId7" Type="http://schemas.openxmlformats.org/officeDocument/2006/relationships/slideLayout" Target="../slideLayouts/slideLayout516.xml"/><Relationship Id="rId12" Type="http://schemas.openxmlformats.org/officeDocument/2006/relationships/theme" Target="../theme/theme51.xml"/><Relationship Id="rId2" Type="http://schemas.openxmlformats.org/officeDocument/2006/relationships/slideLayout" Target="../slideLayouts/slideLayout511.xml"/><Relationship Id="rId1" Type="http://schemas.openxmlformats.org/officeDocument/2006/relationships/slideLayout" Target="../slideLayouts/slideLayout510.xml"/><Relationship Id="rId6" Type="http://schemas.openxmlformats.org/officeDocument/2006/relationships/slideLayout" Target="../slideLayouts/slideLayout515.xml"/><Relationship Id="rId11" Type="http://schemas.openxmlformats.org/officeDocument/2006/relationships/slideLayout" Target="../slideLayouts/slideLayout520.xml"/><Relationship Id="rId5" Type="http://schemas.openxmlformats.org/officeDocument/2006/relationships/slideLayout" Target="../slideLayouts/slideLayout514.xml"/><Relationship Id="rId10" Type="http://schemas.openxmlformats.org/officeDocument/2006/relationships/slideLayout" Target="../slideLayouts/slideLayout519.xml"/><Relationship Id="rId4" Type="http://schemas.openxmlformats.org/officeDocument/2006/relationships/slideLayout" Target="../slideLayouts/slideLayout513.xml"/><Relationship Id="rId9" Type="http://schemas.openxmlformats.org/officeDocument/2006/relationships/slideLayout" Target="../slideLayouts/slideLayout518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8.xml"/><Relationship Id="rId3" Type="http://schemas.openxmlformats.org/officeDocument/2006/relationships/slideLayout" Target="../slideLayouts/slideLayout523.xml"/><Relationship Id="rId7" Type="http://schemas.openxmlformats.org/officeDocument/2006/relationships/slideLayout" Target="../slideLayouts/slideLayout527.xml"/><Relationship Id="rId12" Type="http://schemas.openxmlformats.org/officeDocument/2006/relationships/theme" Target="../theme/theme52.xml"/><Relationship Id="rId2" Type="http://schemas.openxmlformats.org/officeDocument/2006/relationships/slideLayout" Target="../slideLayouts/slideLayout522.xml"/><Relationship Id="rId1" Type="http://schemas.openxmlformats.org/officeDocument/2006/relationships/slideLayout" Target="../slideLayouts/slideLayout521.xml"/><Relationship Id="rId6" Type="http://schemas.openxmlformats.org/officeDocument/2006/relationships/slideLayout" Target="../slideLayouts/slideLayout526.xml"/><Relationship Id="rId11" Type="http://schemas.openxmlformats.org/officeDocument/2006/relationships/slideLayout" Target="../slideLayouts/slideLayout531.xml"/><Relationship Id="rId5" Type="http://schemas.openxmlformats.org/officeDocument/2006/relationships/slideLayout" Target="../slideLayouts/slideLayout525.xml"/><Relationship Id="rId10" Type="http://schemas.openxmlformats.org/officeDocument/2006/relationships/slideLayout" Target="../slideLayouts/slideLayout530.xml"/><Relationship Id="rId4" Type="http://schemas.openxmlformats.org/officeDocument/2006/relationships/slideLayout" Target="../slideLayouts/slideLayout524.xml"/><Relationship Id="rId9" Type="http://schemas.openxmlformats.org/officeDocument/2006/relationships/slideLayout" Target="../slideLayouts/slideLayout529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9.xml"/><Relationship Id="rId3" Type="http://schemas.openxmlformats.org/officeDocument/2006/relationships/slideLayout" Target="../slideLayouts/slideLayout534.xml"/><Relationship Id="rId7" Type="http://schemas.openxmlformats.org/officeDocument/2006/relationships/slideLayout" Target="../slideLayouts/slideLayout538.xml"/><Relationship Id="rId2" Type="http://schemas.openxmlformats.org/officeDocument/2006/relationships/slideLayout" Target="../slideLayouts/slideLayout533.xml"/><Relationship Id="rId1" Type="http://schemas.openxmlformats.org/officeDocument/2006/relationships/slideLayout" Target="../slideLayouts/slideLayout532.xml"/><Relationship Id="rId6" Type="http://schemas.openxmlformats.org/officeDocument/2006/relationships/slideLayout" Target="../slideLayouts/slideLayout537.xml"/><Relationship Id="rId5" Type="http://schemas.openxmlformats.org/officeDocument/2006/relationships/slideLayout" Target="../slideLayouts/slideLayout536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535.xml"/><Relationship Id="rId9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7.xml"/><Relationship Id="rId13" Type="http://schemas.openxmlformats.org/officeDocument/2006/relationships/theme" Target="../theme/theme54.xml"/><Relationship Id="rId3" Type="http://schemas.openxmlformats.org/officeDocument/2006/relationships/slideLayout" Target="../slideLayouts/slideLayout542.xml"/><Relationship Id="rId7" Type="http://schemas.openxmlformats.org/officeDocument/2006/relationships/slideLayout" Target="../slideLayouts/slideLayout546.xml"/><Relationship Id="rId12" Type="http://schemas.openxmlformats.org/officeDocument/2006/relationships/slideLayout" Target="../slideLayouts/slideLayout551.xml"/><Relationship Id="rId2" Type="http://schemas.openxmlformats.org/officeDocument/2006/relationships/slideLayout" Target="../slideLayouts/slideLayout541.xml"/><Relationship Id="rId1" Type="http://schemas.openxmlformats.org/officeDocument/2006/relationships/slideLayout" Target="../slideLayouts/slideLayout540.xml"/><Relationship Id="rId6" Type="http://schemas.openxmlformats.org/officeDocument/2006/relationships/slideLayout" Target="../slideLayouts/slideLayout545.xml"/><Relationship Id="rId11" Type="http://schemas.openxmlformats.org/officeDocument/2006/relationships/slideLayout" Target="../slideLayouts/slideLayout550.xml"/><Relationship Id="rId5" Type="http://schemas.openxmlformats.org/officeDocument/2006/relationships/slideLayout" Target="../slideLayouts/slideLayout544.xml"/><Relationship Id="rId10" Type="http://schemas.openxmlformats.org/officeDocument/2006/relationships/slideLayout" Target="../slideLayouts/slideLayout549.xml"/><Relationship Id="rId4" Type="http://schemas.openxmlformats.org/officeDocument/2006/relationships/slideLayout" Target="../slideLayouts/slideLayout543.xml"/><Relationship Id="rId9" Type="http://schemas.openxmlformats.org/officeDocument/2006/relationships/slideLayout" Target="../slideLayouts/slideLayout548.xml"/><Relationship Id="rId14" Type="http://schemas.openxmlformats.org/officeDocument/2006/relationships/image" Target="../media/image11.jpeg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9.xml"/><Relationship Id="rId13" Type="http://schemas.openxmlformats.org/officeDocument/2006/relationships/slideLayout" Target="../slideLayouts/slideLayout564.xml"/><Relationship Id="rId3" Type="http://schemas.openxmlformats.org/officeDocument/2006/relationships/slideLayout" Target="../slideLayouts/slideLayout554.xml"/><Relationship Id="rId7" Type="http://schemas.openxmlformats.org/officeDocument/2006/relationships/slideLayout" Target="../slideLayouts/slideLayout558.xml"/><Relationship Id="rId12" Type="http://schemas.openxmlformats.org/officeDocument/2006/relationships/slideLayout" Target="../slideLayouts/slideLayout563.xml"/><Relationship Id="rId2" Type="http://schemas.openxmlformats.org/officeDocument/2006/relationships/slideLayout" Target="../slideLayouts/slideLayout553.xml"/><Relationship Id="rId16" Type="http://schemas.openxmlformats.org/officeDocument/2006/relationships/image" Target="../media/image11.jpeg"/><Relationship Id="rId1" Type="http://schemas.openxmlformats.org/officeDocument/2006/relationships/slideLayout" Target="../slideLayouts/slideLayout552.xml"/><Relationship Id="rId6" Type="http://schemas.openxmlformats.org/officeDocument/2006/relationships/slideLayout" Target="../slideLayouts/slideLayout557.xml"/><Relationship Id="rId11" Type="http://schemas.openxmlformats.org/officeDocument/2006/relationships/slideLayout" Target="../slideLayouts/slideLayout562.xml"/><Relationship Id="rId5" Type="http://schemas.openxmlformats.org/officeDocument/2006/relationships/slideLayout" Target="../slideLayouts/slideLayout556.xml"/><Relationship Id="rId15" Type="http://schemas.openxmlformats.org/officeDocument/2006/relationships/theme" Target="../theme/theme55.xml"/><Relationship Id="rId10" Type="http://schemas.openxmlformats.org/officeDocument/2006/relationships/slideLayout" Target="../slideLayouts/slideLayout561.xml"/><Relationship Id="rId4" Type="http://schemas.openxmlformats.org/officeDocument/2006/relationships/slideLayout" Target="../slideLayouts/slideLayout555.xml"/><Relationship Id="rId9" Type="http://schemas.openxmlformats.org/officeDocument/2006/relationships/slideLayout" Target="../slideLayouts/slideLayout560.xml"/><Relationship Id="rId14" Type="http://schemas.openxmlformats.org/officeDocument/2006/relationships/slideLayout" Target="../slideLayouts/slideLayout56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3.xml"/><Relationship Id="rId3" Type="http://schemas.openxmlformats.org/officeDocument/2006/relationships/slideLayout" Target="../slideLayouts/slideLayout568.xml"/><Relationship Id="rId7" Type="http://schemas.openxmlformats.org/officeDocument/2006/relationships/slideLayout" Target="../slideLayouts/slideLayout572.xml"/><Relationship Id="rId2" Type="http://schemas.openxmlformats.org/officeDocument/2006/relationships/slideLayout" Target="../slideLayouts/slideLayout567.xml"/><Relationship Id="rId1" Type="http://schemas.openxmlformats.org/officeDocument/2006/relationships/slideLayout" Target="../slideLayouts/slideLayout566.xml"/><Relationship Id="rId6" Type="http://schemas.openxmlformats.org/officeDocument/2006/relationships/slideLayout" Target="../slideLayouts/slideLayout571.xml"/><Relationship Id="rId5" Type="http://schemas.openxmlformats.org/officeDocument/2006/relationships/slideLayout" Target="../slideLayouts/slideLayout570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569.xml"/><Relationship Id="rId9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1.xml"/><Relationship Id="rId13" Type="http://schemas.openxmlformats.org/officeDocument/2006/relationships/slideLayout" Target="../slideLayouts/slideLayout586.xml"/><Relationship Id="rId3" Type="http://schemas.openxmlformats.org/officeDocument/2006/relationships/slideLayout" Target="../slideLayouts/slideLayout576.xml"/><Relationship Id="rId7" Type="http://schemas.openxmlformats.org/officeDocument/2006/relationships/slideLayout" Target="../slideLayouts/slideLayout580.xml"/><Relationship Id="rId12" Type="http://schemas.openxmlformats.org/officeDocument/2006/relationships/slideLayout" Target="../slideLayouts/slideLayout585.xml"/><Relationship Id="rId2" Type="http://schemas.openxmlformats.org/officeDocument/2006/relationships/slideLayout" Target="../slideLayouts/slideLayout575.xml"/><Relationship Id="rId1" Type="http://schemas.openxmlformats.org/officeDocument/2006/relationships/slideLayout" Target="../slideLayouts/slideLayout574.xml"/><Relationship Id="rId6" Type="http://schemas.openxmlformats.org/officeDocument/2006/relationships/slideLayout" Target="../slideLayouts/slideLayout579.xml"/><Relationship Id="rId11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78.xml"/><Relationship Id="rId15" Type="http://schemas.openxmlformats.org/officeDocument/2006/relationships/image" Target="../media/image11.jpeg"/><Relationship Id="rId10" Type="http://schemas.openxmlformats.org/officeDocument/2006/relationships/slideLayout" Target="../slideLayouts/slideLayout583.xml"/><Relationship Id="rId4" Type="http://schemas.openxmlformats.org/officeDocument/2006/relationships/slideLayout" Target="../slideLayouts/slideLayout577.xml"/><Relationship Id="rId9" Type="http://schemas.openxmlformats.org/officeDocument/2006/relationships/slideLayout" Target="../slideLayouts/slideLayout582.xml"/><Relationship Id="rId14" Type="http://schemas.openxmlformats.org/officeDocument/2006/relationships/theme" Target="../theme/theme57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theme" Target="../theme/theme58.xml"/><Relationship Id="rId3" Type="http://schemas.openxmlformats.org/officeDocument/2006/relationships/slideLayout" Target="../slideLayouts/slideLayout589.xml"/><Relationship Id="rId7" Type="http://schemas.openxmlformats.org/officeDocument/2006/relationships/slideLayout" Target="../slideLayouts/slideLayout593.xml"/><Relationship Id="rId2" Type="http://schemas.openxmlformats.org/officeDocument/2006/relationships/slideLayout" Target="../slideLayouts/slideLayout588.xml"/><Relationship Id="rId1" Type="http://schemas.openxmlformats.org/officeDocument/2006/relationships/slideLayout" Target="../slideLayouts/slideLayout587.xml"/><Relationship Id="rId6" Type="http://schemas.openxmlformats.org/officeDocument/2006/relationships/slideLayout" Target="../slideLayouts/slideLayout592.xml"/><Relationship Id="rId5" Type="http://schemas.openxmlformats.org/officeDocument/2006/relationships/slideLayout" Target="../slideLayouts/slideLayout591.xml"/><Relationship Id="rId4" Type="http://schemas.openxmlformats.org/officeDocument/2006/relationships/slideLayout" Target="../slideLayouts/slideLayout590.xml"/><Relationship Id="rId9" Type="http://schemas.openxmlformats.org/officeDocument/2006/relationships/image" Target="../media/image1.jpeg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1.xml"/><Relationship Id="rId3" Type="http://schemas.openxmlformats.org/officeDocument/2006/relationships/slideLayout" Target="../slideLayouts/slideLayout596.xml"/><Relationship Id="rId7" Type="http://schemas.openxmlformats.org/officeDocument/2006/relationships/slideLayout" Target="../slideLayouts/slideLayout600.xml"/><Relationship Id="rId12" Type="http://schemas.openxmlformats.org/officeDocument/2006/relationships/theme" Target="../theme/theme59.xml"/><Relationship Id="rId2" Type="http://schemas.openxmlformats.org/officeDocument/2006/relationships/slideLayout" Target="../slideLayouts/slideLayout595.xml"/><Relationship Id="rId1" Type="http://schemas.openxmlformats.org/officeDocument/2006/relationships/slideLayout" Target="../slideLayouts/slideLayout594.xml"/><Relationship Id="rId6" Type="http://schemas.openxmlformats.org/officeDocument/2006/relationships/slideLayout" Target="../slideLayouts/slideLayout599.xml"/><Relationship Id="rId11" Type="http://schemas.openxmlformats.org/officeDocument/2006/relationships/slideLayout" Target="../slideLayouts/slideLayout604.xml"/><Relationship Id="rId5" Type="http://schemas.openxmlformats.org/officeDocument/2006/relationships/slideLayout" Target="../slideLayouts/slideLayout598.xml"/><Relationship Id="rId10" Type="http://schemas.openxmlformats.org/officeDocument/2006/relationships/slideLayout" Target="../slideLayouts/slideLayout603.xml"/><Relationship Id="rId4" Type="http://schemas.openxmlformats.org/officeDocument/2006/relationships/slideLayout" Target="../slideLayouts/slideLayout597.xml"/><Relationship Id="rId9" Type="http://schemas.openxmlformats.org/officeDocument/2006/relationships/slideLayout" Target="../slideLayouts/slideLayout6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6.xml"/><Relationship Id="rId9" Type="http://schemas.openxmlformats.org/officeDocument/2006/relationships/theme" Target="../theme/theme6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2.xml"/><Relationship Id="rId3" Type="http://schemas.openxmlformats.org/officeDocument/2006/relationships/slideLayout" Target="../slideLayouts/slideLayout607.xml"/><Relationship Id="rId7" Type="http://schemas.openxmlformats.org/officeDocument/2006/relationships/slideLayout" Target="../slideLayouts/slideLayout611.xml"/><Relationship Id="rId12" Type="http://schemas.openxmlformats.org/officeDocument/2006/relationships/image" Target="../media/image11.jpeg"/><Relationship Id="rId2" Type="http://schemas.openxmlformats.org/officeDocument/2006/relationships/slideLayout" Target="../slideLayouts/slideLayout606.xml"/><Relationship Id="rId1" Type="http://schemas.openxmlformats.org/officeDocument/2006/relationships/slideLayout" Target="../slideLayouts/slideLayout605.xml"/><Relationship Id="rId6" Type="http://schemas.openxmlformats.org/officeDocument/2006/relationships/slideLayout" Target="../slideLayouts/slideLayout610.xml"/><Relationship Id="rId11" Type="http://schemas.openxmlformats.org/officeDocument/2006/relationships/theme" Target="../theme/theme60.xml"/><Relationship Id="rId5" Type="http://schemas.openxmlformats.org/officeDocument/2006/relationships/slideLayout" Target="../slideLayouts/slideLayout609.xml"/><Relationship Id="rId10" Type="http://schemas.openxmlformats.org/officeDocument/2006/relationships/slideLayout" Target="../slideLayouts/slideLayout614.xml"/><Relationship Id="rId4" Type="http://schemas.openxmlformats.org/officeDocument/2006/relationships/slideLayout" Target="../slideLayouts/slideLayout608.xml"/><Relationship Id="rId9" Type="http://schemas.openxmlformats.org/officeDocument/2006/relationships/slideLayout" Target="../slideLayouts/slideLayout6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67B17BF1-7B9A-4086-A1EF-A2FE3A1D9C75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19" r:id="rId1"/>
    <p:sldLayoutId id="2147486120" r:id="rId2"/>
    <p:sldLayoutId id="2147486210" r:id="rId3"/>
    <p:sldLayoutId id="2147486211" r:id="rId4"/>
    <p:sldLayoutId id="2147486212" r:id="rId5"/>
    <p:sldLayoutId id="2147486213" r:id="rId6"/>
    <p:sldLayoutId id="2147486214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Bilde 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Bilde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533400"/>
            <a:ext cx="719931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altLang="nb-NO"/>
              <a:t>Overskrift</a:t>
            </a:r>
            <a:endParaRPr lang="en-US" altLang="nb-NO"/>
          </a:p>
        </p:txBody>
      </p:sp>
      <p:sp>
        <p:nvSpPr>
          <p:cNvPr id="1024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317625"/>
            <a:ext cx="7200900" cy="386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E45034EE-2285-4313-9F47-3E392D37A56F}" type="slidenum">
              <a:rPr lang="en-US" altLang="nb-NO"/>
              <a:pPr/>
              <a:t>‹#›</a:t>
            </a:fld>
            <a:endParaRPr lang="en-US" altLang="nb-NO"/>
          </a:p>
        </p:txBody>
      </p:sp>
      <p:pic>
        <p:nvPicPr>
          <p:cNvPr id="10248" name="Bilde 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50" y="974725"/>
            <a:ext cx="8027988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269" r:id="rId1"/>
    <p:sldLayoutId id="2147486270" r:id="rId2"/>
    <p:sldLayoutId id="2147486271" r:id="rId3"/>
    <p:sldLayoutId id="2147486272" r:id="rId4"/>
    <p:sldLayoutId id="2147486273" r:id="rId5"/>
    <p:sldLayoutId id="2147486274" r:id="rId6"/>
    <p:sldLayoutId id="2147486275" r:id="rId7"/>
    <p:sldLayoutId id="2147486276" r:id="rId8"/>
    <p:sldLayoutId id="2147486277" r:id="rId9"/>
    <p:sldLayoutId id="2147486278" r:id="rId10"/>
    <p:sldLayoutId id="2147486279" r:id="rId11"/>
    <p:sldLayoutId id="2147486280" r:id="rId12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Bilde 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Bilde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533400"/>
            <a:ext cx="719931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altLang="nb-NO"/>
              <a:t>Overskrift</a:t>
            </a:r>
            <a:endParaRPr lang="en-US" altLang="nb-NO"/>
          </a:p>
        </p:txBody>
      </p:sp>
      <p:sp>
        <p:nvSpPr>
          <p:cNvPr id="1126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317625"/>
            <a:ext cx="7200900" cy="386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1D1B163E-473B-45F0-9A65-BCE61E1D4EE8}" type="slidenum">
              <a:rPr lang="en-US" altLang="nb-NO"/>
              <a:pPr/>
              <a:t>‹#›</a:t>
            </a:fld>
            <a:endParaRPr lang="en-US" altLang="nb-NO"/>
          </a:p>
        </p:txBody>
      </p:sp>
      <p:pic>
        <p:nvPicPr>
          <p:cNvPr id="11272" name="Bilde 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50" y="974725"/>
            <a:ext cx="8027988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281" r:id="rId1"/>
    <p:sldLayoutId id="2147486282" r:id="rId2"/>
    <p:sldLayoutId id="2147486283" r:id="rId3"/>
    <p:sldLayoutId id="2147486284" r:id="rId4"/>
    <p:sldLayoutId id="2147486285" r:id="rId5"/>
    <p:sldLayoutId id="2147486286" r:id="rId6"/>
    <p:sldLayoutId id="2147486287" r:id="rId7"/>
    <p:sldLayoutId id="2147486288" r:id="rId8"/>
    <p:sldLayoutId id="2147486289" r:id="rId9"/>
    <p:sldLayoutId id="2147486290" r:id="rId10"/>
    <p:sldLayoutId id="2147486291" r:id="rId11"/>
    <p:sldLayoutId id="2147486292" r:id="rId12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Bilde 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Bilde 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4350" y="4819650"/>
            <a:ext cx="227965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533400"/>
            <a:ext cx="719931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altLang="nb-NO"/>
              <a:t>Overskrift</a:t>
            </a:r>
            <a:endParaRPr lang="en-US" altLang="nb-NO"/>
          </a:p>
        </p:txBody>
      </p:sp>
      <p:sp>
        <p:nvSpPr>
          <p:cNvPr id="1229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317625"/>
            <a:ext cx="7200900" cy="386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03370C7B-804A-4BC2-9D0A-9AA8DD6A6E1B}" type="slidenum">
              <a:rPr lang="en-US" altLang="nb-NO"/>
              <a:pPr/>
              <a:t>‹#›</a:t>
            </a:fld>
            <a:endParaRPr lang="en-US" altLang="nb-NO"/>
          </a:p>
        </p:txBody>
      </p:sp>
      <p:pic>
        <p:nvPicPr>
          <p:cNvPr id="12296" name="Bilde 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50" y="974725"/>
            <a:ext cx="8027988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293" r:id="rId1"/>
    <p:sldLayoutId id="2147486294" r:id="rId2"/>
    <p:sldLayoutId id="2147486295" r:id="rId3"/>
    <p:sldLayoutId id="2147486296" r:id="rId4"/>
    <p:sldLayoutId id="2147486297" r:id="rId5"/>
    <p:sldLayoutId id="2147486298" r:id="rId6"/>
    <p:sldLayoutId id="2147486299" r:id="rId7"/>
    <p:sldLayoutId id="2147486300" r:id="rId8"/>
    <p:sldLayoutId id="2147486301" r:id="rId9"/>
    <p:sldLayoutId id="2147486302" r:id="rId10"/>
    <p:sldLayoutId id="2147486303" r:id="rId11"/>
    <p:sldLayoutId id="2147486304" r:id="rId12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331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eaLnBrk="1" fontAlgn="auto" hangingPunct="1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</a:defRPr>
            </a:lvl1pPr>
          </a:lstStyle>
          <a:p>
            <a:fld id="{35F7F3AB-535E-46C9-9B9D-5282E1E21653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05" r:id="rId1"/>
    <p:sldLayoutId id="2147486306" r:id="rId2"/>
    <p:sldLayoutId id="2147486307" r:id="rId3"/>
    <p:sldLayoutId id="2147486308" r:id="rId4"/>
    <p:sldLayoutId id="2147486309" r:id="rId5"/>
    <p:sldLayoutId id="2147486310" r:id="rId6"/>
    <p:sldLayoutId id="2147486311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433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EB6F0905-CEBA-4EC3-910F-F9C9DA6567A3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7" r:id="rId1"/>
    <p:sldLayoutId id="2147486138" r:id="rId2"/>
    <p:sldLayoutId id="2147486312" r:id="rId3"/>
    <p:sldLayoutId id="2147486313" r:id="rId4"/>
    <p:sldLayoutId id="2147486314" r:id="rId5"/>
    <p:sldLayoutId id="2147486315" r:id="rId6"/>
    <p:sldLayoutId id="2147486316" r:id="rId7"/>
    <p:sldLayoutId id="2147486317" r:id="rId8"/>
    <p:sldLayoutId id="2147486318" r:id="rId9"/>
    <p:sldLayoutId id="2147486319" r:id="rId10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536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4665C165-B936-4B42-A7DB-2EFAC1830817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9" r:id="rId1"/>
    <p:sldLayoutId id="2147486140" r:id="rId2"/>
    <p:sldLayoutId id="2147486320" r:id="rId3"/>
    <p:sldLayoutId id="2147486321" r:id="rId4"/>
    <p:sldLayoutId id="2147486322" r:id="rId5"/>
    <p:sldLayoutId id="2147486323" r:id="rId6"/>
    <p:sldLayoutId id="2147486324" r:id="rId7"/>
    <p:sldLayoutId id="2147486325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marL="342900" indent="-342900"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638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 dirty="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350BCD58-D04C-4563-8188-0E46DE0D8D0C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41" r:id="rId1"/>
    <p:sldLayoutId id="2147486142" r:id="rId2"/>
    <p:sldLayoutId id="2147486326" r:id="rId3"/>
    <p:sldLayoutId id="2147486327" r:id="rId4"/>
    <p:sldLayoutId id="2147486328" r:id="rId5"/>
    <p:sldLayoutId id="2147486329" r:id="rId6"/>
    <p:sldLayoutId id="2147486330" r:id="rId7"/>
    <p:sldLayoutId id="2147486331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marL="342900" indent="-342900"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741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8E373788-559D-432A-84F4-52E29EA12E0C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43" r:id="rId1"/>
    <p:sldLayoutId id="2147486144" r:id="rId2"/>
    <p:sldLayoutId id="2147486332" r:id="rId3"/>
    <p:sldLayoutId id="2147486333" r:id="rId4"/>
    <p:sldLayoutId id="2147486334" r:id="rId5"/>
    <p:sldLayoutId id="2147486335" r:id="rId6"/>
    <p:sldLayoutId id="2147486336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843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 defTabSz="842963">
              <a:defRPr sz="10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FEC44C9C-53A7-406A-A77D-5A574D8D63C8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45" r:id="rId1"/>
    <p:sldLayoutId id="2147486146" r:id="rId2"/>
    <p:sldLayoutId id="2147486337" r:id="rId3"/>
    <p:sldLayoutId id="2147486338" r:id="rId4"/>
    <p:sldLayoutId id="2147486339" r:id="rId5"/>
    <p:sldLayoutId id="2147486340" r:id="rId6"/>
    <p:sldLayoutId id="2147486341" r:id="rId7"/>
    <p:sldLayoutId id="2147486342" r:id="rId8"/>
    <p:sldLayoutId id="2147486147" r:id="rId9"/>
    <p:sldLayoutId id="2147486148" r:id="rId10"/>
    <p:sldLayoutId id="2147486149" r:id="rId11"/>
    <p:sldLayoutId id="2147486150" r:id="rId12"/>
    <p:sldLayoutId id="2147486151" r:id="rId13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4298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08599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6294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17241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2575" indent="-282575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3400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05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461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49871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3038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342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164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298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599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94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241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56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87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0185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49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945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 defTabSz="842963">
              <a:defRPr sz="10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6F42FC62-7BD5-45D7-A8F7-AB281303D428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52" r:id="rId1"/>
    <p:sldLayoutId id="2147486153" r:id="rId2"/>
    <p:sldLayoutId id="2147486343" r:id="rId3"/>
    <p:sldLayoutId id="2147486344" r:id="rId4"/>
    <p:sldLayoutId id="2147486345" r:id="rId5"/>
    <p:sldLayoutId id="2147486346" r:id="rId6"/>
    <p:sldLayoutId id="2147486347" r:id="rId7"/>
    <p:sldLayoutId id="2147486348" r:id="rId8"/>
    <p:sldLayoutId id="2147486349" r:id="rId9"/>
    <p:sldLayoutId id="2147486154" r:id="rId10"/>
    <p:sldLayoutId id="2147486155" r:id="rId11"/>
    <p:sldLayoutId id="2147486156" r:id="rId12"/>
    <p:sldLayoutId id="2147486157" r:id="rId13"/>
    <p:sldLayoutId id="2147486158" r:id="rId14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4298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08599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6294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17241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2575" indent="-282575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3400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05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461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49871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3038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342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164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298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599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94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241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56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87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0185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49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05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 defTabSz="842963">
              <a:defRPr sz="10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66932861-2C69-427A-8944-86729C5CCECB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1" r:id="rId1"/>
    <p:sldLayoutId id="2147486122" r:id="rId2"/>
    <p:sldLayoutId id="2147486215" r:id="rId3"/>
    <p:sldLayoutId id="2147486216" r:id="rId4"/>
    <p:sldLayoutId id="2147486217" r:id="rId5"/>
    <p:sldLayoutId id="2147486218" r:id="rId6"/>
    <p:sldLayoutId id="2147486219" r:id="rId7"/>
    <p:sldLayoutId id="2147486220" r:id="rId8"/>
    <p:sldLayoutId id="2147486221" r:id="rId9"/>
    <p:sldLayoutId id="2147486222" r:id="rId10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4298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08599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6294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17241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2575" indent="-282575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3400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05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461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49871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3038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342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164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298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599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94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241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56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87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0185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49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048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406E80AD-9DE1-4683-96AF-8284D2765414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50" r:id="rId1"/>
    <p:sldLayoutId id="2147486351" r:id="rId2"/>
    <p:sldLayoutId id="2147486352" r:id="rId3"/>
    <p:sldLayoutId id="2147486353" r:id="rId4"/>
    <p:sldLayoutId id="2147486354" r:id="rId5"/>
    <p:sldLayoutId id="2147486355" r:id="rId6"/>
    <p:sldLayoutId id="2147486356" r:id="rId7"/>
    <p:sldLayoutId id="2147486357" r:id="rId8"/>
    <p:sldLayoutId id="2147486359" r:id="rId9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150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Rediger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fld id="{712C2377-73F8-461B-9246-E683FACFEAA9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prstClr val="white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60" r:id="rId1"/>
    <p:sldLayoutId id="2147486361" r:id="rId2"/>
    <p:sldLayoutId id="2147486362" r:id="rId3"/>
    <p:sldLayoutId id="2147486363" r:id="rId4"/>
    <p:sldLayoutId id="2147486364" r:id="rId5"/>
    <p:sldLayoutId id="2147486365" r:id="rId6"/>
    <p:sldLayoutId id="2147486366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bg1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chemeClr val="bg1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253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40F29073-184A-47BE-93F5-3F66E88AEFF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67" r:id="rId1"/>
    <p:sldLayoutId id="2147486368" r:id="rId2"/>
    <p:sldLayoutId id="2147486369" r:id="rId3"/>
    <p:sldLayoutId id="2147486370" r:id="rId4"/>
    <p:sldLayoutId id="2147486371" r:id="rId5"/>
    <p:sldLayoutId id="2147486372" r:id="rId6"/>
    <p:sldLayoutId id="2147486373" r:id="rId7"/>
    <p:sldLayoutId id="2147486374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355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FA42649B-E798-4962-BC1F-58B2A970C511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59" r:id="rId1"/>
    <p:sldLayoutId id="2147486160" r:id="rId2"/>
    <p:sldLayoutId id="2147486377" r:id="rId3"/>
    <p:sldLayoutId id="2147486378" r:id="rId4"/>
    <p:sldLayoutId id="2147486379" r:id="rId5"/>
    <p:sldLayoutId id="2147486380" r:id="rId6"/>
    <p:sldLayoutId id="2147486381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457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9755C588-EB01-4846-A39F-03B5339F5CFC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82" r:id="rId1"/>
    <p:sldLayoutId id="2147486383" r:id="rId2"/>
    <p:sldLayoutId id="2147486384" r:id="rId3"/>
    <p:sldLayoutId id="2147486385" r:id="rId4"/>
    <p:sldLayoutId id="2147486386" r:id="rId5"/>
    <p:sldLayoutId id="2147486387" r:id="rId6"/>
    <p:sldLayoutId id="2147486388" r:id="rId7"/>
    <p:sldLayoutId id="2147486389" r:id="rId8"/>
    <p:sldLayoutId id="2147486390" r:id="rId9"/>
    <p:sldLayoutId id="2147486391" r:id="rId10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560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D8E63457-4A63-4FBE-95EA-76C12A2AF4A6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61" r:id="rId1"/>
    <p:sldLayoutId id="2147486162" r:id="rId2"/>
    <p:sldLayoutId id="2147486393" r:id="rId3"/>
    <p:sldLayoutId id="2147486394" r:id="rId4"/>
    <p:sldLayoutId id="2147486395" r:id="rId5"/>
    <p:sldLayoutId id="2147486396" r:id="rId6"/>
    <p:sldLayoutId id="2147486397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266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5CDD6056-A284-4629-B55F-8252CF60A5DD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98" r:id="rId1"/>
    <p:sldLayoutId id="2147486399" r:id="rId2"/>
    <p:sldLayoutId id="2147486400" r:id="rId3"/>
    <p:sldLayoutId id="2147486401" r:id="rId4"/>
    <p:sldLayoutId id="2147486402" r:id="rId5"/>
    <p:sldLayoutId id="2147486403" r:id="rId6"/>
    <p:sldLayoutId id="2147486404" r:id="rId7"/>
    <p:sldLayoutId id="2147486405" r:id="rId8"/>
    <p:sldLayoutId id="2147486406" r:id="rId9"/>
    <p:sldLayoutId id="2147486407" r:id="rId10"/>
    <p:sldLayoutId id="2147486408" r:id="rId11"/>
    <p:sldLayoutId id="2147486409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2765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E09D5B46-8CDB-4C99-981D-AD4EDE773DCD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10" r:id="rId1"/>
    <p:sldLayoutId id="2147486411" r:id="rId2"/>
    <p:sldLayoutId id="2147486412" r:id="rId3"/>
    <p:sldLayoutId id="2147486413" r:id="rId4"/>
    <p:sldLayoutId id="2147486414" r:id="rId5"/>
    <p:sldLayoutId id="2147486415" r:id="rId6"/>
    <p:sldLayoutId id="2147486416" r:id="rId7"/>
    <p:sldLayoutId id="2147486417" r:id="rId8"/>
    <p:sldLayoutId id="2147486418" r:id="rId9"/>
    <p:sldLayoutId id="2147486419" r:id="rId10"/>
    <p:sldLayoutId id="2147486420" r:id="rId11"/>
    <p:sldLayoutId id="2147486421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2867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50795EC6-8753-4041-829F-34B748CC60AD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22" r:id="rId1"/>
    <p:sldLayoutId id="2147486423" r:id="rId2"/>
    <p:sldLayoutId id="2147486424" r:id="rId3"/>
    <p:sldLayoutId id="2147486425" r:id="rId4"/>
    <p:sldLayoutId id="2147486426" r:id="rId5"/>
    <p:sldLayoutId id="2147486427" r:id="rId6"/>
    <p:sldLayoutId id="2147486428" r:id="rId7"/>
    <p:sldLayoutId id="2147486429" r:id="rId8"/>
    <p:sldLayoutId id="2147486430" r:id="rId9"/>
    <p:sldLayoutId id="2147486431" r:id="rId10"/>
    <p:sldLayoutId id="2147486432" r:id="rId11"/>
    <p:sldLayoutId id="2147486433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2969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FA1790B4-213A-4597-BA2F-79B8A659F7B9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34" r:id="rId1"/>
    <p:sldLayoutId id="2147486435" r:id="rId2"/>
    <p:sldLayoutId id="2147486436" r:id="rId3"/>
    <p:sldLayoutId id="2147486437" r:id="rId4"/>
    <p:sldLayoutId id="2147486438" r:id="rId5"/>
    <p:sldLayoutId id="2147486439" r:id="rId6"/>
    <p:sldLayoutId id="2147486440" r:id="rId7"/>
    <p:sldLayoutId id="2147486441" r:id="rId8"/>
    <p:sldLayoutId id="2147486442" r:id="rId9"/>
    <p:sldLayoutId id="2147486443" r:id="rId10"/>
    <p:sldLayoutId id="2147486444" r:id="rId11"/>
    <p:sldLayoutId id="214748644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307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E3509B44-C4E7-45AA-9EF6-CBADF6241C46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3" r:id="rId1"/>
    <p:sldLayoutId id="2147486124" r:id="rId2"/>
    <p:sldLayoutId id="2147486223" r:id="rId3"/>
    <p:sldLayoutId id="2147486224" r:id="rId4"/>
    <p:sldLayoutId id="2147486225" r:id="rId5"/>
    <p:sldLayoutId id="2147486226" r:id="rId6"/>
    <p:sldLayoutId id="2147486227" r:id="rId7"/>
    <p:sldLayoutId id="2147486228" r:id="rId8"/>
    <p:sldLayoutId id="2147486229" r:id="rId9"/>
    <p:sldLayoutId id="2147486230" r:id="rId10"/>
    <p:sldLayoutId id="2147486231" r:id="rId11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072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B1ADD432-E713-47BF-A8DF-C678DE9DD34D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46" r:id="rId1"/>
    <p:sldLayoutId id="2147486447" r:id="rId2"/>
    <p:sldLayoutId id="2147486448" r:id="rId3"/>
    <p:sldLayoutId id="2147486449" r:id="rId4"/>
    <p:sldLayoutId id="2147486450" r:id="rId5"/>
    <p:sldLayoutId id="2147486451" r:id="rId6"/>
    <p:sldLayoutId id="2147486452" r:id="rId7"/>
    <p:sldLayoutId id="2147486453" r:id="rId8"/>
    <p:sldLayoutId id="2147486454" r:id="rId9"/>
    <p:sldLayoutId id="2147486455" r:id="rId10"/>
    <p:sldLayoutId id="2147486456" r:id="rId11"/>
    <p:sldLayoutId id="2147486457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174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370819D5-2AA4-4ED0-90A2-696FCC3D2C09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58" r:id="rId1"/>
    <p:sldLayoutId id="2147486459" r:id="rId2"/>
    <p:sldLayoutId id="2147486460" r:id="rId3"/>
    <p:sldLayoutId id="2147486461" r:id="rId4"/>
    <p:sldLayoutId id="2147486462" r:id="rId5"/>
    <p:sldLayoutId id="2147486463" r:id="rId6"/>
    <p:sldLayoutId id="2147486464" r:id="rId7"/>
    <p:sldLayoutId id="2147486465" r:id="rId8"/>
    <p:sldLayoutId id="2147486466" r:id="rId9"/>
    <p:sldLayoutId id="2147486467" r:id="rId10"/>
    <p:sldLayoutId id="2147486468" r:id="rId11"/>
    <p:sldLayoutId id="2147486469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277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E3361808-3162-4BDB-922D-4BA848028C36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70" r:id="rId1"/>
    <p:sldLayoutId id="2147486471" r:id="rId2"/>
    <p:sldLayoutId id="2147486472" r:id="rId3"/>
    <p:sldLayoutId id="2147486473" r:id="rId4"/>
    <p:sldLayoutId id="2147486474" r:id="rId5"/>
    <p:sldLayoutId id="2147486475" r:id="rId6"/>
    <p:sldLayoutId id="2147486476" r:id="rId7"/>
    <p:sldLayoutId id="2147486477" r:id="rId8"/>
    <p:sldLayoutId id="2147486478" r:id="rId9"/>
    <p:sldLayoutId id="2147486479" r:id="rId10"/>
    <p:sldLayoutId id="2147486480" r:id="rId11"/>
    <p:sldLayoutId id="2147486481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379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EBFC2B4B-9E0E-41FF-93C8-CE0627B9DE2B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82" r:id="rId1"/>
    <p:sldLayoutId id="2147486483" r:id="rId2"/>
    <p:sldLayoutId id="2147486484" r:id="rId3"/>
    <p:sldLayoutId id="2147486485" r:id="rId4"/>
    <p:sldLayoutId id="2147486486" r:id="rId5"/>
    <p:sldLayoutId id="2147486487" r:id="rId6"/>
    <p:sldLayoutId id="2147486488" r:id="rId7"/>
    <p:sldLayoutId id="2147486489" r:id="rId8"/>
    <p:sldLayoutId id="2147486490" r:id="rId9"/>
    <p:sldLayoutId id="2147486491" r:id="rId10"/>
    <p:sldLayoutId id="2147486492" r:id="rId11"/>
    <p:sldLayoutId id="2147486493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481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23E245F5-394A-41E2-8476-0837AE686310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494" r:id="rId1"/>
    <p:sldLayoutId id="2147486495" r:id="rId2"/>
    <p:sldLayoutId id="2147486496" r:id="rId3"/>
    <p:sldLayoutId id="2147486497" r:id="rId4"/>
    <p:sldLayoutId id="2147486498" r:id="rId5"/>
    <p:sldLayoutId id="2147486499" r:id="rId6"/>
    <p:sldLayoutId id="2147486500" r:id="rId7"/>
    <p:sldLayoutId id="2147486501" r:id="rId8"/>
    <p:sldLayoutId id="2147486502" r:id="rId9"/>
    <p:sldLayoutId id="2147486503" r:id="rId10"/>
    <p:sldLayoutId id="2147486504" r:id="rId11"/>
    <p:sldLayoutId id="214748650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584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1A5B1708-2169-48DB-802A-E2E5E89F78D7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06" r:id="rId1"/>
    <p:sldLayoutId id="2147486507" r:id="rId2"/>
    <p:sldLayoutId id="2147486508" r:id="rId3"/>
    <p:sldLayoutId id="2147486509" r:id="rId4"/>
    <p:sldLayoutId id="2147486510" r:id="rId5"/>
    <p:sldLayoutId id="2147486511" r:id="rId6"/>
    <p:sldLayoutId id="2147486512" r:id="rId7"/>
    <p:sldLayoutId id="2147486513" r:id="rId8"/>
    <p:sldLayoutId id="2147486514" r:id="rId9"/>
    <p:sldLayoutId id="2147486515" r:id="rId10"/>
    <p:sldLayoutId id="2147486516" r:id="rId11"/>
    <p:sldLayoutId id="2147486517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686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1C86F39F-5749-4D2C-8808-E246FDD08C79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18" r:id="rId1"/>
    <p:sldLayoutId id="2147486519" r:id="rId2"/>
    <p:sldLayoutId id="2147486520" r:id="rId3"/>
    <p:sldLayoutId id="2147486521" r:id="rId4"/>
    <p:sldLayoutId id="2147486522" r:id="rId5"/>
    <p:sldLayoutId id="2147486523" r:id="rId6"/>
    <p:sldLayoutId id="2147486524" r:id="rId7"/>
    <p:sldLayoutId id="2147486525" r:id="rId8"/>
    <p:sldLayoutId id="2147486526" r:id="rId9"/>
    <p:sldLayoutId id="2147486527" r:id="rId10"/>
    <p:sldLayoutId id="2147486528" r:id="rId11"/>
    <p:sldLayoutId id="2147486529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3789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9597679C-039E-4490-BE3C-945961D753A4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30" r:id="rId1"/>
    <p:sldLayoutId id="2147486531" r:id="rId2"/>
    <p:sldLayoutId id="2147486532" r:id="rId3"/>
    <p:sldLayoutId id="2147486533" r:id="rId4"/>
    <p:sldLayoutId id="2147486534" r:id="rId5"/>
    <p:sldLayoutId id="2147486535" r:id="rId6"/>
    <p:sldLayoutId id="2147486536" r:id="rId7"/>
    <p:sldLayoutId id="2147486537" r:id="rId8"/>
    <p:sldLayoutId id="2147486538" r:id="rId9"/>
    <p:sldLayoutId id="2147486539" r:id="rId10"/>
    <p:sldLayoutId id="2147486540" r:id="rId11"/>
    <p:sldLayoutId id="2147486541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3891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5123590C-7206-43C7-AF7E-E5750EDC166F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42" r:id="rId1"/>
    <p:sldLayoutId id="2147486543" r:id="rId2"/>
    <p:sldLayoutId id="2147486544" r:id="rId3"/>
    <p:sldLayoutId id="2147486545" r:id="rId4"/>
    <p:sldLayoutId id="2147486546" r:id="rId5"/>
    <p:sldLayoutId id="2147486547" r:id="rId6"/>
    <p:sldLayoutId id="2147486548" r:id="rId7"/>
    <p:sldLayoutId id="2147486549" r:id="rId8"/>
    <p:sldLayoutId id="2147486550" r:id="rId9"/>
    <p:sldLayoutId id="2147486551" r:id="rId10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3993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76B51E1C-793E-42DB-9ED6-21EDEB75DC57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52" r:id="rId1"/>
    <p:sldLayoutId id="2147486553" r:id="rId2"/>
    <p:sldLayoutId id="2147486554" r:id="rId3"/>
    <p:sldLayoutId id="2147486555" r:id="rId4"/>
    <p:sldLayoutId id="2147486556" r:id="rId5"/>
    <p:sldLayoutId id="2147486557" r:id="rId6"/>
    <p:sldLayoutId id="2147486558" r:id="rId7"/>
    <p:sldLayoutId id="2147486559" r:id="rId8"/>
    <p:sldLayoutId id="2147486560" r:id="rId9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09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1576E4B1-CE2B-424A-BB7E-C6BE6E62A44B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5" r:id="rId1"/>
    <p:sldLayoutId id="2147486126" r:id="rId2"/>
    <p:sldLayoutId id="2147486232" r:id="rId3"/>
    <p:sldLayoutId id="2147486233" r:id="rId4"/>
    <p:sldLayoutId id="2147486234" r:id="rId5"/>
    <p:sldLayoutId id="2147486235" r:id="rId6"/>
    <p:sldLayoutId id="2147486236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4096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7F056F1C-2314-4541-83B1-68E448E68EC1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61" r:id="rId1"/>
    <p:sldLayoutId id="2147486562" r:id="rId2"/>
    <p:sldLayoutId id="2147486563" r:id="rId3"/>
    <p:sldLayoutId id="2147486564" r:id="rId4"/>
    <p:sldLayoutId id="2147486565" r:id="rId5"/>
    <p:sldLayoutId id="2147486566" r:id="rId6"/>
    <p:sldLayoutId id="2147486567" r:id="rId7"/>
    <p:sldLayoutId id="2147486568" r:id="rId8"/>
    <p:sldLayoutId id="2147486569" r:id="rId9"/>
    <p:sldLayoutId id="2147486570" r:id="rId10"/>
    <p:sldLayoutId id="2147486571" r:id="rId11"/>
    <p:sldLayoutId id="214748657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198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9E75A44F-E4F4-49DF-B56C-02D880FA483F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73" r:id="rId1"/>
    <p:sldLayoutId id="2147486574" r:id="rId2"/>
    <p:sldLayoutId id="2147486575" r:id="rId3"/>
    <p:sldLayoutId id="2147486576" r:id="rId4"/>
    <p:sldLayoutId id="2147486577" r:id="rId5"/>
    <p:sldLayoutId id="2147486578" r:id="rId6"/>
    <p:sldLayoutId id="2147486579" r:id="rId7"/>
    <p:sldLayoutId id="2147486580" r:id="rId8"/>
    <p:sldLayoutId id="2147486581" r:id="rId9"/>
    <p:sldLayoutId id="2147486582" r:id="rId10"/>
    <p:sldLayoutId id="2147486583" r:id="rId11"/>
    <p:sldLayoutId id="2147486584" r:id="rId12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301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52345FAB-6002-4EA6-9EF6-E287A1ABEF20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63" r:id="rId1"/>
    <p:sldLayoutId id="2147486164" r:id="rId2"/>
    <p:sldLayoutId id="2147486165" r:id="rId3"/>
    <p:sldLayoutId id="2147486166" r:id="rId4"/>
    <p:sldLayoutId id="2147486585" r:id="rId5"/>
    <p:sldLayoutId id="2147486586" r:id="rId6"/>
    <p:sldLayoutId id="2147486587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403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B7335115-B003-4942-875B-BB01F46F486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88" r:id="rId1"/>
    <p:sldLayoutId id="2147486589" r:id="rId2"/>
    <p:sldLayoutId id="2147486590" r:id="rId3"/>
    <p:sldLayoutId id="2147486591" r:id="rId4"/>
    <p:sldLayoutId id="2147486592" r:id="rId5"/>
    <p:sldLayoutId id="2147486593" r:id="rId6"/>
    <p:sldLayoutId id="2147486594" r:id="rId7"/>
    <p:sldLayoutId id="2147486595" r:id="rId8"/>
    <p:sldLayoutId id="2147486596" r:id="rId9"/>
    <p:sldLayoutId id="2147486597" r:id="rId10"/>
    <p:sldLayoutId id="2147486598" r:id="rId11"/>
    <p:sldLayoutId id="2147486599" r:id="rId12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505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E8896223-77DF-4A10-9DA0-4647E650B283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00" r:id="rId1"/>
    <p:sldLayoutId id="2147486601" r:id="rId2"/>
    <p:sldLayoutId id="2147486602" r:id="rId3"/>
    <p:sldLayoutId id="2147486603" r:id="rId4"/>
    <p:sldLayoutId id="2147486604" r:id="rId5"/>
    <p:sldLayoutId id="2147486605" r:id="rId6"/>
    <p:sldLayoutId id="2147486606" r:id="rId7"/>
    <p:sldLayoutId id="2147486607" r:id="rId8"/>
    <p:sldLayoutId id="2147486608" r:id="rId9"/>
    <p:sldLayoutId id="2147486609" r:id="rId10"/>
    <p:sldLayoutId id="2147486610" r:id="rId11"/>
    <p:sldLayoutId id="2147486611" r:id="rId12"/>
    <p:sldLayoutId id="2147486612" r:id="rId13"/>
    <p:sldLayoutId id="2147486613" r:id="rId14"/>
    <p:sldLayoutId id="2147486614" r:id="rId15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4608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914400">
              <a:defRPr sz="1200">
                <a:solidFill>
                  <a:srgbClr val="898989"/>
                </a:solidFill>
              </a:defRPr>
            </a:lvl1pPr>
          </a:lstStyle>
          <a:p>
            <a:fld id="{BE1BF921-0546-43E2-8E6F-BDE767807F52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15" r:id="rId1"/>
    <p:sldLayoutId id="2147486616" r:id="rId2"/>
    <p:sldLayoutId id="2147486617" r:id="rId3"/>
    <p:sldLayoutId id="2147486618" r:id="rId4"/>
    <p:sldLayoutId id="2147486619" r:id="rId5"/>
    <p:sldLayoutId id="2147486620" r:id="rId6"/>
    <p:sldLayoutId id="2147486621" r:id="rId7"/>
    <p:sldLayoutId id="2147486622" r:id="rId8"/>
    <p:sldLayoutId id="2147486623" r:id="rId9"/>
    <p:sldLayoutId id="2147486624" r:id="rId10"/>
    <p:sldLayoutId id="214748662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710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3989AEF0-F6A3-4A01-ABFC-F395B96FBB26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26" r:id="rId1"/>
    <p:sldLayoutId id="2147486627" r:id="rId2"/>
    <p:sldLayoutId id="2147486628" r:id="rId3"/>
    <p:sldLayoutId id="2147486629" r:id="rId4"/>
    <p:sldLayoutId id="2147486630" r:id="rId5"/>
    <p:sldLayoutId id="2147486631" r:id="rId6"/>
    <p:sldLayoutId id="2147486632" r:id="rId7"/>
    <p:sldLayoutId id="2147486633" r:id="rId8"/>
    <p:sldLayoutId id="2147486634" r:id="rId9"/>
    <p:sldLayoutId id="2147486635" r:id="rId10"/>
    <p:sldLayoutId id="2147486636" r:id="rId11"/>
    <p:sldLayoutId id="2147486637" r:id="rId12"/>
    <p:sldLayoutId id="2147486638" r:id="rId13"/>
    <p:sldLayoutId id="2147486639" r:id="rId14"/>
    <p:sldLayoutId id="2147486640" r:id="rId15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813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EFC52E66-B6CD-476D-B46F-7E91620F7C5A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41" r:id="rId1"/>
    <p:sldLayoutId id="2147486167" r:id="rId2"/>
    <p:sldLayoutId id="2147486168" r:id="rId3"/>
    <p:sldLayoutId id="2147486169" r:id="rId4"/>
    <p:sldLayoutId id="2147486170" r:id="rId5"/>
    <p:sldLayoutId id="2147486171" r:id="rId6"/>
    <p:sldLayoutId id="2147486642" r:id="rId7"/>
    <p:sldLayoutId id="2147486643" r:id="rId8"/>
    <p:sldLayoutId id="2147486172" r:id="rId9"/>
    <p:sldLayoutId id="2147486646" r:id="rId10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4915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Rediger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2F427ADC-F6ED-4842-9D33-B917F153F6F8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50" r:id="rId1"/>
    <p:sldLayoutId id="2147486173" r:id="rId2"/>
    <p:sldLayoutId id="2147486174" r:id="rId3"/>
    <p:sldLayoutId id="2147486175" r:id="rId4"/>
    <p:sldLayoutId id="2147486176" r:id="rId5"/>
    <p:sldLayoutId id="2147486177" r:id="rId6"/>
    <p:sldLayoutId id="2147486651" r:id="rId7"/>
    <p:sldLayoutId id="2147486178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bg1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chemeClr val="bg1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bg1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5017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>
              <a:defRPr sz="900">
                <a:solidFill>
                  <a:srgbClr val="797C80"/>
                </a:solidFill>
              </a:defRPr>
            </a:lvl1pPr>
          </a:lstStyle>
          <a:p>
            <a:fld id="{65FC9E37-EF64-4D99-BC5F-0C9564C4D53B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52" r:id="rId1"/>
    <p:sldLayoutId id="2147486179" r:id="rId2"/>
    <p:sldLayoutId id="2147486180" r:id="rId3"/>
    <p:sldLayoutId id="2147486181" r:id="rId4"/>
    <p:sldLayoutId id="2147486182" r:id="rId5"/>
    <p:sldLayoutId id="2147486183" r:id="rId6"/>
    <p:sldLayoutId id="2147486653" r:id="rId7"/>
    <p:sldLayoutId id="2147486654" r:id="rId8"/>
    <p:sldLayoutId id="2147486655" r:id="rId9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512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A398FC89-A1CB-4437-9DA1-F2A5E4693CCF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7" r:id="rId1"/>
    <p:sldLayoutId id="2147486128" r:id="rId2"/>
    <p:sldLayoutId id="2147486237" r:id="rId3"/>
    <p:sldLayoutId id="2147486238" r:id="rId4"/>
    <p:sldLayoutId id="2147486239" r:id="rId5"/>
    <p:sldLayoutId id="2147486240" r:id="rId6"/>
    <p:sldLayoutId id="2147486241" r:id="rId7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51203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 dirty="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78996AAD-3E09-476D-B26B-3E96AAC868FC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84" r:id="rId1"/>
    <p:sldLayoutId id="2147486185" r:id="rId2"/>
    <p:sldLayoutId id="2147486186" r:id="rId3"/>
    <p:sldLayoutId id="2147486187" r:id="rId4"/>
    <p:sldLayoutId id="2147486657" r:id="rId5"/>
    <p:sldLayoutId id="2147486658" r:id="rId6"/>
    <p:sldLayoutId id="2147486659" r:id="rId7"/>
  </p:sldLayoutIdLst>
  <p:transition spd="med">
    <p:fade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fontAlgn="base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fontAlgn="base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fontAlgn="base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fontAlgn="base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fontAlgn="base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fld id="{9EFBDD00-A915-4A2F-B6C2-50DE86E1227B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88" r:id="rId1"/>
    <p:sldLayoutId id="2147486189" r:id="rId2"/>
    <p:sldLayoutId id="2147486190" r:id="rId3"/>
    <p:sldLayoutId id="2147486191" r:id="rId4"/>
    <p:sldLayoutId id="2147486192" r:id="rId5"/>
    <p:sldLayoutId id="2147486660" r:id="rId6"/>
    <p:sldLayoutId id="2147486193" r:id="rId7"/>
    <p:sldLayoutId id="2147486194" r:id="rId8"/>
    <p:sldLayoutId id="2147486195" r:id="rId9"/>
    <p:sldLayoutId id="2147486196" r:id="rId10"/>
    <p:sldLayoutId id="214748619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380985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6pPr>
      <a:lvl7pPr marL="761970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7pPr>
      <a:lvl8pPr marL="1142954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8pPr>
      <a:lvl9pPr marL="1523939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9pPr>
    </p:titleStyle>
    <p:bodyStyle>
      <a:lvl1pPr marL="284163" indent="-2841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538" indent="-23653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950913" indent="-1889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31913" indent="-1889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12913" indent="-1889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82296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52974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5297488"/>
            <a:ext cx="2895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5297488"/>
            <a:ext cx="2133600" cy="3032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98989"/>
                </a:solidFill>
              </a:defRPr>
            </a:lvl1pPr>
          </a:lstStyle>
          <a:p>
            <a:fld id="{8CC0F590-C5A7-46DC-B15F-1E1E23C198BA}" type="slidenum">
              <a:rPr lang="nb-NO" altLang="nb-NO"/>
              <a:pPr/>
              <a:t>‹#›</a:t>
            </a:fld>
            <a:endParaRPr lang="nb-NO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98" r:id="rId1"/>
    <p:sldLayoutId id="2147486199" r:id="rId2"/>
    <p:sldLayoutId id="2147486200" r:id="rId3"/>
    <p:sldLayoutId id="2147486201" r:id="rId4"/>
    <p:sldLayoutId id="2147486202" r:id="rId5"/>
    <p:sldLayoutId id="2147486661" r:id="rId6"/>
    <p:sldLayoutId id="2147486203" r:id="rId7"/>
    <p:sldLayoutId id="2147486204" r:id="rId8"/>
    <p:sldLayoutId id="2147486205" r:id="rId9"/>
    <p:sldLayoutId id="2147486206" r:id="rId10"/>
    <p:sldLayoutId id="214748620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380985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6pPr>
      <a:lvl7pPr marL="761970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7pPr>
      <a:lvl8pPr marL="1142954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8pPr>
      <a:lvl9pPr marL="1523939" algn="ctr" rtl="0" fontAlgn="base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34" charset="0"/>
        </a:defRPr>
      </a:lvl9pPr>
    </p:titleStyle>
    <p:bodyStyle>
      <a:lvl1pPr marL="284163" indent="-28416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17538" indent="-23653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950913" indent="-1889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31913" indent="-1889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12913" indent="-1889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205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707463" eaLnBrk="1" fontAlgn="auto" hangingPunct="1">
              <a:spcBef>
                <a:spcPts val="0"/>
              </a:spcBef>
              <a:spcAft>
                <a:spcPts val="0"/>
              </a:spcAft>
              <a:defRPr sz="792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 defTabSz="704850">
              <a:defRPr sz="700">
                <a:solidFill>
                  <a:srgbClr val="797C80"/>
                </a:solidFill>
              </a:defRPr>
            </a:lvl1pPr>
          </a:lstStyle>
          <a:p>
            <a:fld id="{030800DE-B190-4AE6-89A6-4F5B29A65554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08" r:id="rId1"/>
    <p:sldLayoutId id="2147486209" r:id="rId2"/>
    <p:sldLayoutId id="2147486662" r:id="rId3"/>
    <p:sldLayoutId id="2147486663" r:id="rId4"/>
    <p:sldLayoutId id="2147486664" r:id="rId5"/>
    <p:sldLayoutId id="2147486665" r:id="rId6"/>
    <p:sldLayoutId id="2147486666" r:id="rId7"/>
    <p:sldLayoutId id="2147486667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380985" algn="l" rtl="0" eaLnBrk="1" fontAlgn="base" hangingPunct="1">
        <a:spcBef>
          <a:spcPct val="0"/>
        </a:spcBef>
        <a:spcAft>
          <a:spcPct val="0"/>
        </a:spcAft>
        <a:defRPr sz="1833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761970" algn="l" rtl="0" eaLnBrk="1" fontAlgn="base" hangingPunct="1">
        <a:spcBef>
          <a:spcPct val="0"/>
        </a:spcBef>
        <a:spcAft>
          <a:spcPct val="0"/>
        </a:spcAft>
        <a:defRPr sz="1833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142954" algn="l" rtl="0" eaLnBrk="1" fontAlgn="base" hangingPunct="1">
        <a:spcBef>
          <a:spcPct val="0"/>
        </a:spcBef>
        <a:spcAft>
          <a:spcPct val="0"/>
        </a:spcAft>
        <a:defRPr sz="1833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523939" algn="l" rtl="0" eaLnBrk="1" fontAlgn="base" hangingPunct="1">
        <a:spcBef>
          <a:spcPct val="0"/>
        </a:spcBef>
        <a:spcAft>
          <a:spcPct val="0"/>
        </a:spcAft>
        <a:defRPr sz="1833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000"/>
        </a:lnSpc>
        <a:spcBef>
          <a:spcPts val="500"/>
        </a:spcBef>
        <a:spcAft>
          <a:spcPts val="5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36538" indent="-236538" algn="l" rtl="0" eaLnBrk="0" fontAlgn="base" hangingPunct="0">
        <a:spcBef>
          <a:spcPts val="338"/>
        </a:spcBef>
        <a:spcAft>
          <a:spcPct val="0"/>
        </a:spcAft>
        <a:buFont typeface="Arial" panose="020B0604020202020204" pitchFamily="34" charset="0"/>
        <a:buChar char="–"/>
        <a:defRPr sz="13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447675" indent="-188913" algn="l" rtl="0" eaLnBrk="0" fontAlgn="base" hangingPunct="0">
        <a:spcBef>
          <a:spcPts val="338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746125" indent="-188913" algn="l" rtl="0" eaLnBrk="0" fontAlgn="base" hangingPunct="0">
        <a:spcBef>
          <a:spcPts val="338"/>
        </a:spcBef>
        <a:spcAft>
          <a:spcPct val="0"/>
        </a:spcAft>
        <a:buFont typeface="Arial" panose="020B0604020202020204" pitchFamily="34" charset="0"/>
        <a:buChar char="–"/>
        <a:defRPr sz="13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044575" indent="-188913" algn="l" rtl="0" eaLnBrk="0" fontAlgn="base" hangingPunct="0">
        <a:spcBef>
          <a:spcPts val="338"/>
        </a:spcBef>
        <a:spcAft>
          <a:spcPct val="0"/>
        </a:spcAft>
        <a:buFont typeface="Arial" panose="020B0604020202020204" pitchFamily="34" charset="0"/>
        <a:buChar char="»"/>
        <a:defRPr sz="13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09541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spcBef>
          <a:spcPct val="20000"/>
        </a:spcBef>
        <a:buFont typeface="Arial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eaLnBrk="1" hangingPunct="1">
              <a:defRPr sz="900">
                <a:solidFill>
                  <a:srgbClr val="797C80"/>
                </a:solidFill>
              </a:defRPr>
            </a:lvl1pPr>
          </a:lstStyle>
          <a:p>
            <a:fld id="{3C4E9ACB-0D2A-4898-899B-60FAF750BE6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dirty="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264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69" r:id="rId1"/>
    <p:sldLayoutId id="2147486670" r:id="rId2"/>
    <p:sldLayoutId id="2147486671" r:id="rId3"/>
    <p:sldLayoutId id="2147486672" r:id="rId4"/>
    <p:sldLayoutId id="2147486673" r:id="rId5"/>
    <p:sldLayoutId id="2147486674" r:id="rId6"/>
    <p:sldLayoutId id="2147486675" r:id="rId7"/>
    <p:sldLayoutId id="2147486676" r:id="rId8"/>
    <p:sldLayoutId id="2147486677" r:id="rId9"/>
    <p:sldLayoutId id="2147486679" r:id="rId10"/>
    <p:sldLayoutId id="2147486680" r:id="rId11"/>
    <p:sldLayoutId id="2147486681" r:id="rId12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eaLnBrk="1" hangingPunct="1">
              <a:defRPr sz="900">
                <a:solidFill>
                  <a:srgbClr val="797C80"/>
                </a:solidFill>
              </a:defRPr>
            </a:lvl1pPr>
          </a:lstStyle>
          <a:p>
            <a:fld id="{3C4E9ACB-0D2A-4898-899B-60FAF750BE6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dirty="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12475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84" r:id="rId1"/>
    <p:sldLayoutId id="2147486685" r:id="rId2"/>
    <p:sldLayoutId id="2147486686" r:id="rId3"/>
    <p:sldLayoutId id="2147486687" r:id="rId4"/>
    <p:sldLayoutId id="2147486688" r:id="rId5"/>
    <p:sldLayoutId id="2147486689" r:id="rId6"/>
    <p:sldLayoutId id="2147486690" r:id="rId7"/>
    <p:sldLayoutId id="2147486691" r:id="rId8"/>
    <p:sldLayoutId id="2147486692" r:id="rId9"/>
    <p:sldLayoutId id="2147486693" r:id="rId10"/>
    <p:sldLayoutId id="2147486694" r:id="rId11"/>
    <p:sldLayoutId id="2147486695" r:id="rId12"/>
    <p:sldLayoutId id="2147486696" r:id="rId13"/>
    <p:sldLayoutId id="2147486698" r:id="rId14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ctr" defTabSz="843626" fontAlgn="auto">
              <a:spcBef>
                <a:spcPts val="0"/>
              </a:spcBef>
              <a:spcAft>
                <a:spcPts val="0"/>
              </a:spcAft>
              <a:defRPr sz="1000" b="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3E09AC42-DF9B-4BED-8779-8D83B4093C1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897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01" r:id="rId1"/>
    <p:sldLayoutId id="2147486702" r:id="rId2"/>
    <p:sldLayoutId id="2147486703" r:id="rId3"/>
    <p:sldLayoutId id="2147486704" r:id="rId4"/>
    <p:sldLayoutId id="2147486705" r:id="rId5"/>
    <p:sldLayoutId id="2147486706" r:id="rId6"/>
    <p:sldLayoutId id="2147486707" r:id="rId7"/>
    <p:sldLayoutId id="2147486708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4298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08599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6294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17241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2575" indent="-282575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3400" indent="-227013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0588" indent="-227013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46188" indent="-227013" algn="l" rtl="0" eaLnBrk="0" fontAlgn="base" hangingPunct="0">
        <a:spcBef>
          <a:spcPts val="400"/>
        </a:spcBef>
        <a:spcAft>
          <a:spcPct val="0"/>
        </a:spcAft>
        <a:buFont typeface="Arial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49871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3038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342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164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298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599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94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241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56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87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0185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49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eaLnBrk="1" hangingPunct="1">
              <a:defRPr sz="900">
                <a:solidFill>
                  <a:srgbClr val="797C80"/>
                </a:solidFill>
              </a:defRPr>
            </a:lvl1pPr>
          </a:lstStyle>
          <a:p>
            <a:fld id="{3C4E9ACB-0D2A-4898-899B-60FAF750BE6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dirty="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0090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10" r:id="rId1"/>
    <p:sldLayoutId id="2147486711" r:id="rId2"/>
    <p:sldLayoutId id="2147486712" r:id="rId3"/>
    <p:sldLayoutId id="2147486713" r:id="rId4"/>
    <p:sldLayoutId id="2147486714" r:id="rId5"/>
    <p:sldLayoutId id="2147486715" r:id="rId6"/>
    <p:sldLayoutId id="2147486716" r:id="rId7"/>
    <p:sldLayoutId id="2147486717" r:id="rId8"/>
    <p:sldLayoutId id="2147486718" r:id="rId9"/>
    <p:sldLayoutId id="2147486719" r:id="rId10"/>
    <p:sldLayoutId id="2147486721" r:id="rId11"/>
    <p:sldLayoutId id="2147486769" r:id="rId12"/>
    <p:sldLayoutId id="2147486770" r:id="rId13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>
            <a:lum/>
          </a:blip>
          <a:srcRect/>
          <a:stretch>
            <a:fillRect t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 dirty="0" err="1" smtClean="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ctr" defTabSz="848989" fontAlgn="auto">
              <a:spcBef>
                <a:spcPts val="0"/>
              </a:spcBef>
              <a:spcAft>
                <a:spcPts val="0"/>
              </a:spcAft>
              <a:defRPr sz="950" b="0" smtClean="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4600C858-D0CF-41E8-9F61-5952BDC927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693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38" r:id="rId1"/>
    <p:sldLayoutId id="2147486739" r:id="rId2"/>
    <p:sldLayoutId id="2147486740" r:id="rId3"/>
    <p:sldLayoutId id="2147486741" r:id="rId4"/>
    <p:sldLayoutId id="2147486742" r:id="rId5"/>
    <p:sldLayoutId id="2147486743" r:id="rId6"/>
    <p:sldLayoutId id="2147486744" r:id="rId7"/>
  </p:sldLayoutIdLst>
  <p:transition spd="med">
    <p:fade/>
  </p:transition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1" fontAlgn="base" hangingPunct="1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1" fontAlgn="base" hangingPunct="1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1" fontAlgn="base" hangingPunct="1">
        <a:spcBef>
          <a:spcPts val="400"/>
        </a:spcBef>
        <a:spcAft>
          <a:spcPct val="0"/>
        </a:spcAft>
        <a:buFont typeface="Arial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1" fontAlgn="base" hangingPunct="1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1" fontAlgn="base" hangingPunct="1">
        <a:spcBef>
          <a:spcPts val="400"/>
        </a:spcBef>
        <a:spcAft>
          <a:spcPct val="0"/>
        </a:spcAft>
        <a:buFont typeface="Arial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612775"/>
            <a:ext cx="84947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84963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eaLnBrk="1" hangingPunct="1">
              <a:defRPr sz="900">
                <a:solidFill>
                  <a:srgbClr val="797C80"/>
                </a:solidFill>
              </a:defRPr>
            </a:lvl1pPr>
          </a:lstStyle>
          <a:p>
            <a:fld id="{ECBDF599-B1FE-4A80-8E6D-E2D9C7ABB6B9}" type="slidenum">
              <a:rPr lang="en-US" altLang="nb-NO"/>
              <a:pPr/>
              <a:t>‹#›</a:t>
            </a:fld>
            <a:endParaRPr lang="en-US" alt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95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59544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46" r:id="rId1"/>
    <p:sldLayoutId id="2147486747" r:id="rId2"/>
    <p:sldLayoutId id="2147486748" r:id="rId3"/>
    <p:sldLayoutId id="2147486749" r:id="rId4"/>
    <p:sldLayoutId id="2147486750" r:id="rId5"/>
    <p:sldLayoutId id="2147486751" r:id="rId6"/>
    <p:sldLayoutId id="2147486752" r:id="rId7"/>
    <p:sldLayoutId id="2147486753" r:id="rId8"/>
    <p:sldLayoutId id="2147486754" r:id="rId9"/>
    <p:sldLayoutId id="2147486755" r:id="rId10"/>
    <p:sldLayoutId id="2147486756" r:id="rId11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185738" indent="-185738"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360363" indent="-174625"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536575" indent="-176213"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711200" indent="-174625" algn="l" rtl="0" eaLnBrk="0" fontAlgn="base" hangingPunct="0">
        <a:lnSpc>
          <a:spcPct val="120000"/>
        </a:lnSpc>
        <a:spcBef>
          <a:spcPts val="600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0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614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 dirty="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B288379A-814C-46A5-8E18-F6D140461092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9" r:id="rId1"/>
    <p:sldLayoutId id="2147486130" r:id="rId2"/>
    <p:sldLayoutId id="2147486242" r:id="rId3"/>
    <p:sldLayoutId id="2147486243" r:id="rId4"/>
    <p:sldLayoutId id="2147486244" r:id="rId5"/>
    <p:sldLayoutId id="2147486245" r:id="rId6"/>
    <p:sldLayoutId id="2147486246" r:id="rId7"/>
    <p:sldLayoutId id="2147486247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marL="342900" indent="-342900"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323850" y="427038"/>
            <a:ext cx="7199313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323850" y="1331913"/>
            <a:ext cx="7200900" cy="306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7285C3A-2EDD-124F-A52E-8742812FE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3850" y="5194300"/>
            <a:ext cx="252413" cy="14605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eaLnBrk="1" hangingPunct="1">
              <a:defRPr sz="900">
                <a:solidFill>
                  <a:srgbClr val="797C80"/>
                </a:solidFill>
              </a:defRPr>
            </a:lvl1pPr>
          </a:lstStyle>
          <a:p>
            <a:fld id="{3C4E9ACB-0D2A-4898-899B-60FAF750BE6E}" type="slidenum">
              <a:rPr lang="en-US" altLang="nb-NO"/>
              <a:pPr/>
              <a:t>‹#›</a:t>
            </a:fld>
            <a:endParaRPr lang="en-US" alt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078045F-1177-3549-BD34-3E3D6066C6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750" y="5194300"/>
            <a:ext cx="2711450" cy="147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dirty="0">
                <a:solidFill>
                  <a:srgbClr val="797C8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193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58" r:id="rId1"/>
    <p:sldLayoutId id="2147486759" r:id="rId2"/>
    <p:sldLayoutId id="2147486760" r:id="rId3"/>
    <p:sldLayoutId id="2147486761" r:id="rId4"/>
    <p:sldLayoutId id="2147486762" r:id="rId5"/>
    <p:sldLayoutId id="2147486763" r:id="rId6"/>
    <p:sldLayoutId id="2147486764" r:id="rId7"/>
    <p:sldLayoutId id="2147486765" r:id="rId8"/>
    <p:sldLayoutId id="2147486766" r:id="rId9"/>
    <p:sldLayoutId id="2147486768" r:id="rId10"/>
  </p:sldLayoutIdLst>
  <p:transition spd="med"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231464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231464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7171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 dirty="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12034D10-1E5F-4DA4-BDF4-0F48449E2D74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1" r:id="rId1"/>
    <p:sldLayoutId id="2147486132" r:id="rId2"/>
    <p:sldLayoutId id="2147486248" r:id="rId3"/>
    <p:sldLayoutId id="2147486249" r:id="rId4"/>
    <p:sldLayoutId id="2147486250" r:id="rId5"/>
    <p:sldLayoutId id="2147486251" r:id="rId6"/>
    <p:sldLayoutId id="2147486252" r:id="rId7"/>
    <p:sldLayoutId id="2147486253" r:id="rId8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marL="342900" indent="-342900"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8195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8989" fontAlgn="auto">
              <a:spcBef>
                <a:spcPts val="0"/>
              </a:spcBef>
              <a:spcAft>
                <a:spcPts val="0"/>
              </a:spcAft>
              <a:defRPr sz="95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>
              <a:defRPr sz="9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4CFAA896-AE42-4589-954F-E06095FFB0BB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3" r:id="rId1"/>
    <p:sldLayoutId id="2147486134" r:id="rId2"/>
    <p:sldLayoutId id="2147486254" r:id="rId3"/>
    <p:sldLayoutId id="2147486255" r:id="rId4"/>
    <p:sldLayoutId id="2147486256" r:id="rId5"/>
    <p:sldLayoutId id="2147486257" r:id="rId6"/>
    <p:sldLayoutId id="2147486258" r:id="rId7"/>
    <p:sldLayoutId id="2147486259" r:id="rId8"/>
    <p:sldLayoutId id="2147486260" r:id="rId9"/>
    <p:sldLayoutId id="2147486261" r:id="rId10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5750" indent="-28575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8163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6938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54125" indent="-228600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557213" y="434975"/>
            <a:ext cx="7199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  <a:endParaRPr lang="en-US" altLang="nb-NO"/>
          </a:p>
        </p:txBody>
      </p:sp>
      <p:sp>
        <p:nvSpPr>
          <p:cNvPr id="9219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560388" y="1489075"/>
            <a:ext cx="7200900" cy="368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  <a:endParaRPr lang="en-US" alt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65150" y="5311775"/>
            <a:ext cx="2711450" cy="1460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843626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797C80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34925" y="5311775"/>
            <a:ext cx="468313" cy="1460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ctr" defTabSz="842963">
              <a:defRPr sz="1000">
                <a:solidFill>
                  <a:srgbClr val="797C80"/>
                </a:solidFill>
                <a:cs typeface="Calibri" panose="020F0502020204030204" pitchFamily="34" charset="0"/>
              </a:defRPr>
            </a:lvl1pPr>
          </a:lstStyle>
          <a:p>
            <a:fld id="{55FFF12F-0E77-4042-B2D1-1C4AD88FB20A}" type="slidenum">
              <a:rPr lang="en-US" altLang="nb-NO"/>
              <a:pPr/>
              <a:t>‹#›</a:t>
            </a:fld>
            <a:endParaRPr lang="en-US" altLang="nb-N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5" r:id="rId1"/>
    <p:sldLayoutId id="2147486136" r:id="rId2"/>
    <p:sldLayoutId id="2147486262" r:id="rId3"/>
    <p:sldLayoutId id="2147486263" r:id="rId4"/>
    <p:sldLayoutId id="2147486264" r:id="rId5"/>
    <p:sldLayoutId id="2147486265" r:id="rId6"/>
    <p:sldLayoutId id="2147486266" r:id="rId7"/>
    <p:sldLayoutId id="2147486267" r:id="rId8"/>
    <p:sldLayoutId id="2147486268" r:id="rId9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180C4F"/>
          </a:solidFill>
          <a:latin typeface="Calibri"/>
          <a:ea typeface="Calibri" pitchFamily="34" charset="0"/>
          <a:cs typeface="Calibri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454298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6pPr>
      <a:lvl7pPr marL="908599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7pPr>
      <a:lvl8pPr marL="1362940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8pPr>
      <a:lvl9pPr marL="1817241" algn="l" rtl="0" fontAlgn="base">
        <a:spcBef>
          <a:spcPct val="0"/>
        </a:spcBef>
        <a:spcAft>
          <a:spcPct val="0"/>
        </a:spcAft>
        <a:defRPr sz="2200" b="1">
          <a:solidFill>
            <a:srgbClr val="180C4F"/>
          </a:solidFill>
          <a:latin typeface="Calibri" pitchFamily="34" charset="0"/>
          <a:ea typeface="Calibri" pitchFamily="34" charset="0"/>
          <a:cs typeface="Calibri" pitchFamily="34" charset="0"/>
        </a:defRPr>
      </a:lvl9pPr>
    </p:titleStyle>
    <p:bodyStyle>
      <a:lvl1pPr algn="l" rtl="0" eaLnBrk="0" fontAlgn="base" hangingPunct="0">
        <a:lnSpc>
          <a:spcPts val="2400"/>
        </a:lnSpc>
        <a:spcBef>
          <a:spcPts val="600"/>
        </a:spcBef>
        <a:spcAft>
          <a:spcPts val="600"/>
        </a:spcAft>
        <a:buClr>
          <a:schemeClr val="accent1"/>
        </a:buClr>
        <a:buSzPct val="90000"/>
        <a:buFont typeface="Arial" panose="020B0604020202020204" pitchFamily="34" charset="0"/>
        <a:defRPr kern="1200">
          <a:solidFill>
            <a:srgbClr val="616366"/>
          </a:solidFill>
          <a:latin typeface="Calibri"/>
          <a:ea typeface="Calibri" pitchFamily="34" charset="0"/>
          <a:cs typeface="Calibri"/>
        </a:defRPr>
      </a:lvl1pPr>
      <a:lvl2pPr marL="282575" indent="-282575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2pPr>
      <a:lvl3pPr marL="533400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3pPr>
      <a:lvl4pPr marL="8905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4pPr>
      <a:lvl5pPr marL="1246188" indent="-227013" algn="l" rtl="0" eaLnBrk="0" fontAlgn="base" hangingPunct="0">
        <a:spcBef>
          <a:spcPts val="4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rgbClr val="616366"/>
          </a:solidFill>
          <a:latin typeface="Calibri"/>
          <a:ea typeface="Calibri" pitchFamily="34" charset="0"/>
          <a:cs typeface="Calibri"/>
        </a:defRPr>
      </a:lvl5pPr>
      <a:lvl6pPr marL="249871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3038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342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1649" indent="-227162" algn="l" defTabSz="90859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298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599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94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241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56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870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0185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494" algn="l" defTabSz="9085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78.xml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7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emf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emf"/><Relationship Id="rId5" Type="http://schemas.openxmlformats.org/officeDocument/2006/relationships/image" Target="../media/image60.emf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svg"/><Relationship Id="rId4" Type="http://schemas.openxmlformats.org/officeDocument/2006/relationships/image" Target="../media/image29.svg"/><Relationship Id="rId9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3.xml"/><Relationship Id="rId5" Type="http://schemas.openxmlformats.org/officeDocument/2006/relationships/chart" Target="../charts/chart1.xml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77.xml"/><Relationship Id="rId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3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290" name="Plassholder for tekst 1"/>
          <p:cNvSpPr>
            <a:spLocks noGrp="1"/>
          </p:cNvSpPr>
          <p:nvPr>
            <p:ph type="body" sz="quarter" idx="18"/>
          </p:nvPr>
        </p:nvSpPr>
        <p:spPr>
          <a:xfrm>
            <a:off x="323528" y="4225652"/>
            <a:ext cx="5616575" cy="503238"/>
          </a:xfrm>
        </p:spPr>
        <p:txBody>
          <a:bodyPr/>
          <a:lstStyle/>
          <a:p>
            <a:r>
              <a:rPr lang="en-US" altLang="nb-NO" sz="1600" dirty="0">
                <a:solidFill>
                  <a:srgbClr val="1A146A"/>
                </a:solidFill>
              </a:rPr>
              <a:t>Adm. dir. Geir Bergskaug, 3</a:t>
            </a:r>
            <a:r>
              <a:rPr lang="nb-NO" altLang="en-US" sz="1600" dirty="0">
                <a:solidFill>
                  <a:srgbClr val="1A146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august 2020</a:t>
            </a:r>
            <a:endParaRPr lang="en-US" altLang="en-US" sz="1600" dirty="0">
              <a:solidFill>
                <a:srgbClr val="1A146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4291" name="Tittel 2"/>
          <p:cNvSpPr>
            <a:spLocks noGrp="1"/>
          </p:cNvSpPr>
          <p:nvPr>
            <p:ph type="title"/>
          </p:nvPr>
        </p:nvSpPr>
        <p:spPr>
          <a:xfrm>
            <a:off x="323850" y="3402186"/>
            <a:ext cx="7488510" cy="679450"/>
          </a:xfrm>
        </p:spPr>
        <p:txBody>
          <a:bodyPr/>
          <a:lstStyle/>
          <a:p>
            <a:r>
              <a:rPr lang="nb-NO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ørlandet nå</a:t>
            </a:r>
            <a:br>
              <a:rPr lang="nb-NO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nb-NO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Status for næringslivet i regionen, bedriftenes utfordringer og bankens rolle</a:t>
            </a:r>
            <a:endParaRPr lang="en-US" alt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4292" name="Plassholder for lysbildenummer 3"/>
          <p:cNvSpPr>
            <a:spLocks noGrp="1" noChangeArrowheads="1"/>
          </p:cNvSpPr>
          <p:nvPr>
            <p:ph type="sldNum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AB370DCA-6E56-448A-8648-60431191CEA6}" type="slidenum">
              <a:rPr lang="en-US" altLang="nb-NO"/>
              <a:pPr/>
              <a:t>1</a:t>
            </a:fld>
            <a:endParaRPr lang="en-US" altLang="nb-NO"/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193204"/>
            <a:ext cx="4680048" cy="679450"/>
          </a:xfrm>
        </p:spPr>
        <p:txBody>
          <a:bodyPr/>
          <a:lstStyle/>
          <a:p>
            <a:r>
              <a:rPr lang="nb-NO" dirty="0"/>
              <a:t>Rekyl i varehand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79512" y="1129308"/>
            <a:ext cx="3815952" cy="145349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Ulike effekter for forskjellige segmen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Deler av varehandelen har «all time </a:t>
            </a:r>
            <a:r>
              <a:rPr lang="nb-NO" sz="1600" dirty="0" err="1"/>
              <a:t>high</a:t>
            </a:r>
            <a:r>
              <a:rPr lang="nb-NO" sz="1600" dirty="0"/>
              <a:t>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Spesielt godt år for bil- og båtomsetning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294967295"/>
          </p:nvPr>
        </p:nvSpPr>
        <p:spPr>
          <a:xfrm>
            <a:off x="0" y="5194300"/>
            <a:ext cx="252413" cy="146050"/>
          </a:xfrm>
        </p:spPr>
        <p:txBody>
          <a:bodyPr/>
          <a:lstStyle/>
          <a:p>
            <a:fld id="{69EBE4DC-8BA7-4CDF-8986-782071135176}" type="slidenum">
              <a:rPr lang="en-US" altLang="nb-NO" smtClean="0"/>
              <a:pPr/>
              <a:t>10</a:t>
            </a:fld>
            <a:endParaRPr lang="en-US" altLang="nb-NO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685" y="2601484"/>
            <a:ext cx="2771179" cy="2762924"/>
          </a:xfrm>
          <a:prstGeom prst="rect">
            <a:avLst/>
          </a:prstGeom>
        </p:spPr>
      </p:pic>
      <p:sp>
        <p:nvSpPr>
          <p:cNvPr id="7" name="TekstSylinder 6"/>
          <p:cNvSpPr txBox="1"/>
          <p:nvPr/>
        </p:nvSpPr>
        <p:spPr>
          <a:xfrm>
            <a:off x="827584" y="5362972"/>
            <a:ext cx="2088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Fedrelandsvennen 17.07.20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6505" y="481236"/>
            <a:ext cx="5087496" cy="435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388746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24000" y="427517"/>
            <a:ext cx="4824064" cy="679450"/>
          </a:xfrm>
        </p:spPr>
        <p:txBody>
          <a:bodyPr/>
          <a:lstStyle/>
          <a:p>
            <a:r>
              <a:rPr lang="nb-NO" dirty="0"/>
              <a:t>Nyanser i bygg og eiendom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24000" y="1332000"/>
            <a:ext cx="3455912" cy="375774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Næringseiendom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400" dirty="0"/>
              <a:t>Leietakere (spesielt i restaurant og varehandel) har vært sterkt påvirket. Negativ effekt for huseiere er imidlertid redusert pga. kontantstøtteordningen til leietake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Bygg og anlegg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400" dirty="0"/>
              <a:t>Pågående prosjekter gjennomføres nokså normalt, men salgsprosess (og igangsetting) kan oppleves tregere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400" dirty="0"/>
              <a:t>Ordrereserve ned 32% (12 </a:t>
            </a:r>
            <a:r>
              <a:rPr lang="nb-NO" sz="1400" dirty="0" err="1"/>
              <a:t>mnd</a:t>
            </a:r>
            <a:r>
              <a:rPr lang="nb-NO" sz="1400" dirty="0"/>
              <a:t>)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400" dirty="0"/>
              <a:t>Anslått nedgang i investeringer nasjonalt neste 3 år på 70 mrd. kr (</a:t>
            </a:r>
            <a:r>
              <a:rPr lang="nb-NO" sz="1400" dirty="0" err="1"/>
              <a:t>Menon</a:t>
            </a:r>
            <a:r>
              <a:rPr lang="nb-NO" sz="1400" dirty="0"/>
              <a:t> </a:t>
            </a:r>
            <a:r>
              <a:rPr lang="nb-NO" sz="1400" dirty="0" err="1"/>
              <a:t>Economics</a:t>
            </a:r>
            <a:r>
              <a:rPr lang="nb-NO" sz="1400" dirty="0"/>
              <a:t>). Agder 10%</a:t>
            </a:r>
          </a:p>
          <a:p>
            <a:endParaRPr lang="nb-NO" sz="16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294967295"/>
          </p:nvPr>
        </p:nvSpPr>
        <p:spPr>
          <a:xfrm>
            <a:off x="0" y="5194300"/>
            <a:ext cx="252413" cy="146050"/>
          </a:xfrm>
        </p:spPr>
        <p:txBody>
          <a:bodyPr/>
          <a:lstStyle/>
          <a:p>
            <a:fld id="{69EBE4DC-8BA7-4CDF-8986-782071135176}" type="slidenum">
              <a:rPr lang="en-US" altLang="nb-NO" smtClean="0"/>
              <a:pPr/>
              <a:t>11</a:t>
            </a:fld>
            <a:endParaRPr lang="en-US" altLang="nb-NO"/>
          </a:p>
        </p:txBody>
      </p:sp>
      <p:sp>
        <p:nvSpPr>
          <p:cNvPr id="7" name="TekstSylinder 6"/>
          <p:cNvSpPr txBox="1"/>
          <p:nvPr/>
        </p:nvSpPr>
        <p:spPr>
          <a:xfrm>
            <a:off x="5220072" y="4786908"/>
            <a:ext cx="2088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Fedrelandsvennen 28.08.20</a:t>
            </a:r>
          </a:p>
        </p:txBody>
      </p:sp>
      <p:pic>
        <p:nvPicPr>
          <p:cNvPr id="8" name="Plassholder for innhold 4"/>
          <p:cNvPicPr>
            <a:picLocks noGrp="1" noChangeAspect="1"/>
          </p:cNvPicPr>
          <p:nvPr>
            <p:ph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85109"/>
            <a:ext cx="2880320" cy="4461094"/>
          </a:xfrm>
        </p:spPr>
      </p:pic>
    </p:spTree>
    <p:extLst>
      <p:ext uri="{BB962C8B-B14F-4D97-AF65-F5344CB8AC3E}">
        <p14:creationId xmlns:p14="http://schemas.microsoft.com/office/powerpoint/2010/main" val="3895779135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Store utfordringer i industrie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Leverandørindustrien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800" dirty="0"/>
              <a:t>Olje- og gassprosjekter satt på vent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800" dirty="0"/>
              <a:t>Fall i investeringer på norsk sokkel (på kort sikt) dempet av Oljeskatteforliket 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800" dirty="0"/>
              <a:t>Stor usikkerhet på lengre sikt (norsk sokkel og globalt)</a:t>
            </a:r>
          </a:p>
          <a:p>
            <a:pPr lvl="1" indent="0">
              <a:buNone/>
            </a:pPr>
            <a:endParaRPr lang="nb-NO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Prosessindustrien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800" dirty="0"/>
              <a:t>I hovedsak full produksjon, høyt fokus på smittevern 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800" dirty="0"/>
              <a:t>Fortsatt svært høy usikkerhet, som vil være der lenge</a:t>
            </a:r>
          </a:p>
          <a:p>
            <a:pPr marL="571500" lvl="1">
              <a:buFont typeface="Arial" panose="020B0604020202020204" pitchFamily="34" charset="0"/>
              <a:buChar char="•"/>
            </a:pPr>
            <a:r>
              <a:rPr lang="nb-NO" sz="1800" dirty="0"/>
              <a:t>Likevel vilje til investering og utvikling (</a:t>
            </a:r>
            <a:r>
              <a:rPr lang="nb-NO" sz="1800" dirty="0" err="1"/>
              <a:t>Glencores</a:t>
            </a:r>
            <a:r>
              <a:rPr lang="nb-NO" sz="1800" dirty="0"/>
              <a:t> kobberelektrolyse, Elkems nye grafittsatsing, Morrows batterisatsing) </a:t>
            </a:r>
          </a:p>
          <a:p>
            <a:r>
              <a:rPr lang="nb-NO" sz="2400" dirty="0"/>
              <a:t> </a:t>
            </a:r>
          </a:p>
          <a:p>
            <a:pPr marL="571500" lvl="1">
              <a:buFont typeface="Arial" panose="020B0604020202020204" pitchFamily="34" charset="0"/>
              <a:buChar char="•"/>
            </a:pPr>
            <a:endParaRPr lang="nb-NO" sz="18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EBE4DC-8BA7-4CDF-8986-782071135176}" type="slidenum">
              <a:rPr lang="en-US" altLang="nb-NO" smtClean="0"/>
              <a:pPr/>
              <a:t>12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578019669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F9B944E-57FC-42EF-9A65-4D75538C6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>
                <a:latin typeface="+mj-lt"/>
              </a:rPr>
              <a:t>Status og økonomiske utsikt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7D76424-433E-4068-A95F-E4427B5799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latin typeface="+mj-lt"/>
              </a:rPr>
              <a:t>En kombinasjon av kraftige finans- og pengepolitiske tiltak synes å ha en avdempende virkning på negative økonomiske utslag som følge av virusutbruddet</a:t>
            </a:r>
          </a:p>
          <a:p>
            <a:pPr marL="285750" indent="-285750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latin typeface="+mj-lt"/>
              </a:rPr>
              <a:t>De statlige støtteordningene har fungert raskt – hittil lavere behov i næringslivet enn antatt</a:t>
            </a:r>
          </a:p>
          <a:p>
            <a:pPr marL="285750" indent="-285750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latin typeface="+mj-lt"/>
              </a:rPr>
              <a:t>Gradvis gjenåpning av økonomien har bidratt til å redusere arbeidsledigheten, kapasitetsutnyttelsen i norsk økonomi har tatt seg opp</a:t>
            </a:r>
          </a:p>
          <a:p>
            <a:pPr marL="285750" indent="-285750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latin typeface="+mj-lt"/>
              </a:rPr>
              <a:t>Kredittpåslagene i finansmarkedene er tilbake på «normale» nivåer </a:t>
            </a:r>
          </a:p>
          <a:p>
            <a:pPr marL="285750" indent="-285750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latin typeface="+mj-lt"/>
              </a:rPr>
              <a:t>Men: Bedriftene har nedjustert investeringsplaner, redusert kapasitetsutnytting og forventer lavere sysselsetting. </a:t>
            </a:r>
          </a:p>
          <a:p>
            <a:pPr marL="285750" indent="-285750">
              <a:lnSpc>
                <a:spcPct val="10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latin typeface="+mj-lt"/>
              </a:rPr>
              <a:t>Eventuelle ytterligere tiltak bør vurderes avhengig av videre kriseforløp  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1310345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Tid for store investeringer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5E16789-BE1F-4013-B5E1-F7A037751CA3}" type="slidenum">
              <a:rPr lang="nb-NO" smtClean="0"/>
              <a:pPr/>
              <a:t>14</a:t>
            </a:fld>
            <a:endParaRPr lang="nb-NO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 l="19214" t="37424" r="40049" b="21208"/>
          <a:stretch>
            <a:fillRect/>
          </a:stretch>
        </p:blipFill>
        <p:spPr bwMode="auto">
          <a:xfrm>
            <a:off x="683569" y="1240327"/>
            <a:ext cx="6899696" cy="3849422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BainCircle1"/>
          <p:cNvSpPr txBox="1"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642777" y="3721553"/>
            <a:ext cx="3024248" cy="100860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 anchor="ctr" anchorCtr="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8248459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A picture containing outdoor, sky, snow, tree&#10;&#10;Description generated with very high confidence">
            <a:extLst>
              <a:ext uri="{FF2B5EF4-FFF2-40B4-BE49-F238E27FC236}">
                <a16:creationId xmlns:a16="http://schemas.microsoft.com/office/drawing/2014/main" id="{4FD6A997-BAE1-45F0-9DF1-152290B75F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81" t="6098" r="8036"/>
          <a:stretch/>
        </p:blipFill>
        <p:spPr>
          <a:xfrm>
            <a:off x="411550" y="2776107"/>
            <a:ext cx="4016434" cy="2241633"/>
          </a:xfrm>
          <a:prstGeom prst="rect">
            <a:avLst/>
          </a:prstGeom>
          <a:ln>
            <a:solidFill>
              <a:srgbClr val="281EA0"/>
            </a:solidFill>
          </a:ln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61C2F120-3B7D-4810-85FB-B17F10E21B5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7" t="23684" r="1895" b="16776"/>
          <a:stretch/>
        </p:blipFill>
        <p:spPr>
          <a:xfrm>
            <a:off x="411551" y="807508"/>
            <a:ext cx="3872417" cy="1977984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7CFD3322-2EC1-4B71-831F-AF42FF1CC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1196"/>
            <a:ext cx="8229600" cy="758320"/>
          </a:xfrm>
        </p:spPr>
        <p:txBody>
          <a:bodyPr>
            <a:normAutofit/>
          </a:bodyPr>
          <a:lstStyle/>
          <a:p>
            <a:r>
              <a:rPr lang="nb-NO" sz="3200" dirty="0"/>
              <a:t>Regionens mange muligheter…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46BF6B01-2D58-498D-8EEE-810006C6DE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3496"/>
          <a:stretch/>
        </p:blipFill>
        <p:spPr>
          <a:xfrm>
            <a:off x="4427985" y="2713484"/>
            <a:ext cx="4464496" cy="2291984"/>
          </a:xfrm>
          <a:prstGeom prst="rect">
            <a:avLst/>
          </a:prstGeom>
          <a:ln w="19050">
            <a:solidFill>
              <a:srgbClr val="281EA0"/>
            </a:solidFill>
          </a:ln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BE6B78F6-EF6C-4608-B0B3-67C095372DE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t="28547" b="24472"/>
          <a:stretch/>
        </p:blipFill>
        <p:spPr>
          <a:xfrm>
            <a:off x="35496" y="941422"/>
            <a:ext cx="936104" cy="648571"/>
          </a:xfrm>
          <a:prstGeom prst="rect">
            <a:avLst/>
          </a:prstGeom>
          <a:solidFill>
            <a:srgbClr val="5A7DC8"/>
          </a:solidFill>
          <a:effectLst>
            <a:innerShdw blurRad="114300">
              <a:prstClr val="black"/>
            </a:innerShdw>
          </a:effectLst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3A18CFD3-1F0B-4146-B11D-31011EF6074C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5496" y="3073527"/>
            <a:ext cx="864096" cy="602847"/>
          </a:xfrm>
          <a:prstGeom prst="rect">
            <a:avLst/>
          </a:prstGeom>
          <a:effectLst>
            <a:innerShdw blurRad="63500" dist="50800" dir="5400000">
              <a:prstClr val="black">
                <a:alpha val="50000"/>
              </a:prstClr>
            </a:innerShdw>
          </a:effectLst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E1D0C1BD-CC33-40F9-9292-C6591B7F23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83967" y="835335"/>
            <a:ext cx="4608513" cy="1950157"/>
          </a:xfrm>
          <a:prstGeom prst="rect">
            <a:avLst/>
          </a:prstGeom>
          <a:ln w="19050">
            <a:solidFill>
              <a:srgbClr val="281EA0"/>
            </a:solidFill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430" y="2127812"/>
            <a:ext cx="3745735" cy="1883697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069695EB-903C-43D2-AE93-8FE8959DE6F5}"/>
              </a:ext>
            </a:extLst>
          </p:cNvPr>
          <p:cNvSpPr txBox="1"/>
          <p:nvPr/>
        </p:nvSpPr>
        <p:spPr>
          <a:xfrm>
            <a:off x="3428256" y="3361569"/>
            <a:ext cx="1287760" cy="379726"/>
          </a:xfrm>
          <a:prstGeom prst="rect">
            <a:avLst/>
          </a:prstGeom>
          <a:solidFill>
            <a:schemeClr val="bg1"/>
          </a:solidFill>
          <a:effectLst>
            <a:innerShdw blurRad="114300">
              <a:prstClr val="black"/>
            </a:innerShdw>
            <a:softEdge rad="31750"/>
          </a:effectLst>
        </p:spPr>
        <p:txBody>
          <a:bodyPr wrap="square" lIns="71250" tIns="35627" rIns="71250" bIns="35627" rtlCol="0">
            <a:spAutoFit/>
          </a:bodyPr>
          <a:lstStyle/>
          <a:p>
            <a:r>
              <a:rPr lang="nb-NO" sz="2000" b="1" dirty="0">
                <a:solidFill>
                  <a:srgbClr val="0070C0"/>
                </a:solidFill>
              </a:rPr>
              <a:t>Ren energi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069695EB-903C-43D2-AE93-8FE8959DE6F5}"/>
              </a:ext>
            </a:extLst>
          </p:cNvPr>
          <p:cNvSpPr txBox="1"/>
          <p:nvPr/>
        </p:nvSpPr>
        <p:spPr>
          <a:xfrm>
            <a:off x="7920880" y="1007361"/>
            <a:ext cx="1223120" cy="687503"/>
          </a:xfrm>
          <a:prstGeom prst="rect">
            <a:avLst/>
          </a:prstGeom>
          <a:solidFill>
            <a:schemeClr val="bg1"/>
          </a:solidFill>
          <a:effectLst>
            <a:innerShdw blurRad="114300">
              <a:prstClr val="black"/>
            </a:innerShdw>
            <a:softEdge rad="31750"/>
          </a:effectLst>
        </p:spPr>
        <p:txBody>
          <a:bodyPr wrap="square" lIns="71250" tIns="35627" rIns="71250" bIns="35627" rtlCol="0">
            <a:spAutoFit/>
          </a:bodyPr>
          <a:lstStyle/>
          <a:p>
            <a:r>
              <a:rPr lang="nb-NO" sz="2000" b="1" dirty="0">
                <a:solidFill>
                  <a:srgbClr val="0070C0"/>
                </a:solidFill>
              </a:rPr>
              <a:t>Kunstig intelligens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17EE8F39-464D-4967-B8BB-0CA63397C0A1}"/>
              </a:ext>
            </a:extLst>
          </p:cNvPr>
          <p:cNvSpPr txBox="1"/>
          <p:nvPr/>
        </p:nvSpPr>
        <p:spPr>
          <a:xfrm>
            <a:off x="7920882" y="3012548"/>
            <a:ext cx="1259632" cy="379726"/>
          </a:xfrm>
          <a:prstGeom prst="rect">
            <a:avLst/>
          </a:prstGeom>
          <a:solidFill>
            <a:schemeClr val="bg1"/>
          </a:solidFill>
          <a:effectLst>
            <a:innerShdw blurRad="114300">
              <a:prstClr val="black"/>
            </a:innerShdw>
          </a:effectLst>
        </p:spPr>
        <p:txBody>
          <a:bodyPr wrap="square" lIns="71250" tIns="35627" rIns="71250" bIns="35627" rtlCol="0">
            <a:spAutoFit/>
          </a:bodyPr>
          <a:lstStyle/>
          <a:p>
            <a:r>
              <a:rPr lang="nb-NO" sz="2000" b="1" dirty="0" err="1">
                <a:solidFill>
                  <a:srgbClr val="0070C0"/>
                </a:solidFill>
              </a:rPr>
              <a:t>SmartCity</a:t>
            </a:r>
            <a:endParaRPr lang="nb-NO" sz="20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870753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557212" y="434975"/>
            <a:ext cx="8263260" cy="679450"/>
          </a:xfrm>
        </p:spPr>
        <p:txBody>
          <a:bodyPr/>
          <a:lstStyle/>
          <a:p>
            <a:r>
              <a:rPr lang="nb-NO" sz="3200" dirty="0"/>
              <a:t>Store forretningsmuligheter i det grønne skiftet</a:t>
            </a:r>
          </a:p>
        </p:txBody>
      </p:sp>
      <p:sp>
        <p:nvSpPr>
          <p:cNvPr id="12" name="Plassholder for innhold 1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/>
          <a:p>
            <a:pPr>
              <a:defRPr/>
            </a:pPr>
            <a:fld id="{359A4F21-2B92-4BFC-8F60-63962FAE7625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900" y="1016671"/>
            <a:ext cx="2875265" cy="2675158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78782" y="953534"/>
            <a:ext cx="2993418" cy="2951055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1796" y="1166995"/>
            <a:ext cx="2660797" cy="2842633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0233" y="2609093"/>
            <a:ext cx="2415588" cy="2327332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64760" y="2708693"/>
            <a:ext cx="3585013" cy="2743033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543" y="3169712"/>
            <a:ext cx="2088232" cy="2288113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23815" y="2845213"/>
            <a:ext cx="2116459" cy="2825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938065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390777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67FFC0-2CC8-4EC7-A3B2-F6D5591B3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2" y="434975"/>
            <a:ext cx="8003615" cy="679450"/>
          </a:xfrm>
        </p:spPr>
        <p:txBody>
          <a:bodyPr/>
          <a:lstStyle/>
          <a:p>
            <a:r>
              <a:rPr lang="nb-NO" sz="3200" dirty="0"/>
              <a:t>Et økonomisk sjokk uten sidestykke</a:t>
            </a:r>
            <a:br>
              <a:rPr lang="nb-NO" sz="3200" dirty="0"/>
            </a:br>
            <a:endParaRPr lang="nb-NO" sz="2000" dirty="0"/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5CD4F397-F80A-4D64-BFAC-E016BA32A0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83173" y="1338168"/>
            <a:ext cx="2135692" cy="2095396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C20D0B6-8A1F-4299-BD48-FFD0100DB2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E16789-BE1F-4013-B5E1-F7A037751CA3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CF10F24-A6D5-4844-95C1-F9A5B828E8AD}"/>
              </a:ext>
            </a:extLst>
          </p:cNvPr>
          <p:cNvSpPr txBox="1"/>
          <p:nvPr/>
        </p:nvSpPr>
        <p:spPr>
          <a:xfrm>
            <a:off x="543780" y="3486630"/>
            <a:ext cx="2214478" cy="1753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699" b="1" dirty="0">
                <a:solidFill>
                  <a:schemeClr val="accent1"/>
                </a:solidFill>
              </a:rPr>
              <a:t>Momentant</a:t>
            </a:r>
          </a:p>
          <a:p>
            <a:r>
              <a:rPr lang="nb-NO" sz="2699" b="1" dirty="0">
                <a:solidFill>
                  <a:schemeClr val="accent1"/>
                </a:solidFill>
              </a:rPr>
              <a:t>Massivt</a:t>
            </a:r>
          </a:p>
          <a:p>
            <a:r>
              <a:rPr lang="nb-NO" sz="2699" b="1" dirty="0">
                <a:solidFill>
                  <a:schemeClr val="accent1"/>
                </a:solidFill>
              </a:rPr>
              <a:t>Målrettet</a:t>
            </a:r>
          </a:p>
          <a:p>
            <a:r>
              <a:rPr lang="nb-NO" sz="2699" b="1" dirty="0">
                <a:solidFill>
                  <a:schemeClr val="accent1"/>
                </a:solidFill>
              </a:rPr>
              <a:t>Midlertidig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8083F36-2B0C-4A7F-A769-F8B7E457BBCA}"/>
              </a:ext>
            </a:extLst>
          </p:cNvPr>
          <p:cNvSpPr txBox="1"/>
          <p:nvPr/>
        </p:nvSpPr>
        <p:spPr>
          <a:xfrm>
            <a:off x="3276599" y="1273324"/>
            <a:ext cx="547186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Dempe akuttvirkningene</a:t>
            </a:r>
            <a:endParaRPr lang="nb-NO" sz="2400" b="1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accent1"/>
                </a:solidFill>
              </a:rPr>
              <a:t>Motvirke unødige ta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accent1"/>
                </a:solidFill>
              </a:rPr>
              <a:t>Bære bedrifter, husholdninger og finansmarkedet gjennom koronakris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>
                <a:solidFill>
                  <a:schemeClr val="accent1"/>
                </a:solidFill>
              </a:rPr>
              <a:t>Riktig timing av etterspørselsstimulerende  tiltak</a:t>
            </a:r>
          </a:p>
        </p:txBody>
      </p:sp>
    </p:spTree>
    <p:extLst>
      <p:ext uri="{BB962C8B-B14F-4D97-AF65-F5344CB8AC3E}">
        <p14:creationId xmlns:p14="http://schemas.microsoft.com/office/powerpoint/2010/main" val="4149239914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686386" y="435175"/>
            <a:ext cx="683526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err="1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Finansnæringen</a:t>
            </a:r>
            <a:r>
              <a:rPr lang="en-US" sz="3200" b="1" dirty="0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 – </a:t>
            </a:r>
            <a:r>
              <a:rPr lang="en-US" sz="3200" b="1" dirty="0" err="1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en</a:t>
            </a:r>
            <a:r>
              <a:rPr lang="en-US" sz="3200" b="1" dirty="0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 del </a:t>
            </a:r>
            <a:r>
              <a:rPr lang="en-US" sz="3200" b="1" dirty="0" err="1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av</a:t>
            </a:r>
            <a:r>
              <a:rPr lang="en-US" sz="3200" b="1" dirty="0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 </a:t>
            </a:r>
            <a:r>
              <a:rPr lang="en-US" sz="3200" b="1" dirty="0" err="1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løsningen</a:t>
            </a:r>
            <a:r>
              <a:rPr lang="en-US" sz="3200" b="1" dirty="0">
                <a:solidFill>
                  <a:srgbClr val="1A146A"/>
                </a:solidFill>
                <a:latin typeface="+mn-lt"/>
                <a:ea typeface="Montserrat Semi" charset="0"/>
                <a:cs typeface="Montserrat Semi" charset="0"/>
              </a:rPr>
              <a:t>  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726B35B-D2D9-4134-B42F-5321F12B0D10}"/>
              </a:ext>
            </a:extLst>
          </p:cNvPr>
          <p:cNvSpPr txBox="1"/>
          <p:nvPr/>
        </p:nvSpPr>
        <p:spPr>
          <a:xfrm>
            <a:off x="657055" y="1536783"/>
            <a:ext cx="8156224" cy="834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Reduksjon i </a:t>
            </a:r>
            <a:r>
              <a:rPr lang="nb-NO" sz="1275" dirty="0" err="1">
                <a:latin typeface="Lato Light"/>
                <a:ea typeface="+mn-lt"/>
                <a:cs typeface="+mn-lt"/>
              </a:rPr>
              <a:t>motsyklisk</a:t>
            </a:r>
            <a:r>
              <a:rPr lang="nb-NO" sz="1275" dirty="0">
                <a:latin typeface="Lato Light"/>
                <a:ea typeface="+mn-lt"/>
                <a:cs typeface="+mn-lt"/>
              </a:rPr>
              <a:t> kapitalkrav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Utsettelse av </a:t>
            </a:r>
            <a:r>
              <a:rPr lang="nb-NO" sz="1275" dirty="0" err="1">
                <a:latin typeface="Lato Light"/>
                <a:ea typeface="+mn-lt"/>
                <a:cs typeface="+mn-lt"/>
              </a:rPr>
              <a:t>tilsynsmessige</a:t>
            </a:r>
            <a:r>
              <a:rPr lang="nb-NO" sz="1275" dirty="0">
                <a:latin typeface="Lato Light"/>
                <a:ea typeface="+mn-lt"/>
                <a:cs typeface="+mn-lt"/>
              </a:rPr>
              <a:t> IRB-skjerpelser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Fleksibilitet i boliglånsforskriften, avdrags- og renteutsettelser i 6 måneder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D00BCFA1-C139-4654-98EB-D8A02F34D738}"/>
              </a:ext>
            </a:extLst>
          </p:cNvPr>
          <p:cNvSpPr/>
          <p:nvPr/>
        </p:nvSpPr>
        <p:spPr>
          <a:xfrm>
            <a:off x="686386" y="1238077"/>
            <a:ext cx="8207222" cy="2987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600" dirty="0"/>
              <a:t>Umiddelbare tiltak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61B2ECC7-E5FF-40D7-BD43-0017E8140734}"/>
              </a:ext>
            </a:extLst>
          </p:cNvPr>
          <p:cNvSpPr/>
          <p:nvPr/>
        </p:nvSpPr>
        <p:spPr>
          <a:xfrm>
            <a:off x="657055" y="2558794"/>
            <a:ext cx="8207222" cy="2987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600" dirty="0"/>
              <a:t>Langsiktige tiltak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B0AAF53A-6722-4040-9DEE-90A485F71E5B}"/>
              </a:ext>
            </a:extLst>
          </p:cNvPr>
          <p:cNvSpPr txBox="1"/>
          <p:nvPr/>
        </p:nvSpPr>
        <p:spPr>
          <a:xfrm>
            <a:off x="657055" y="2857500"/>
            <a:ext cx="8156224" cy="1927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Lånegarantiordningen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Kompensasjonsordningen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Statens obligasjonsfond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Utbytte og overskuddsdisponering (90 prosent av overskudd tilbakeholdt)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Ekstraordinære F-lån Norges Bank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275" dirty="0">
                <a:latin typeface="Lato Light"/>
                <a:ea typeface="+mn-lt"/>
                <a:cs typeface="+mn-lt"/>
              </a:rPr>
              <a:t>Utsatt frist oppfyllelse av MREL-krav</a:t>
            </a:r>
          </a:p>
          <a:p>
            <a:pPr marL="257106" indent="-257106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sz="1275" dirty="0">
              <a:latin typeface="Lato Light"/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686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Box 49">
            <a:extLst>
              <a:ext uri="{FF2B5EF4-FFF2-40B4-BE49-F238E27FC236}">
                <a16:creationId xmlns:a16="http://schemas.microsoft.com/office/drawing/2014/main" id="{E9AF490F-8176-4D2A-A1CA-1E9103E4094E}"/>
              </a:ext>
            </a:extLst>
          </p:cNvPr>
          <p:cNvSpPr txBox="1"/>
          <p:nvPr/>
        </p:nvSpPr>
        <p:spPr>
          <a:xfrm>
            <a:off x="276504" y="2096396"/>
            <a:ext cx="128112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b="1" spc="225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3.520 LÅ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D68AC293-7CF3-4E6C-BC1F-116AE57E15D8}"/>
              </a:ext>
            </a:extLst>
          </p:cNvPr>
          <p:cNvSpPr txBox="1"/>
          <p:nvPr/>
        </p:nvSpPr>
        <p:spPr>
          <a:xfrm>
            <a:off x="276506" y="2315739"/>
            <a:ext cx="18830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/>
              <a:t>Per 19. august er det innvilget 3 520 lån for ca. 10,5 mrd. kroner til 3 459 bedrifter.</a:t>
            </a:r>
          </a:p>
          <a:p>
            <a:endParaRPr lang="en-US" sz="105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1342FFC-B09D-41EE-BF32-A7FF08C60B1A}"/>
              </a:ext>
            </a:extLst>
          </p:cNvPr>
          <p:cNvSpPr txBox="1"/>
          <p:nvPr/>
        </p:nvSpPr>
        <p:spPr>
          <a:xfrm>
            <a:off x="2264683" y="2063362"/>
            <a:ext cx="18918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spc="225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GODT SAMARBEID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169AF76-8FF1-482C-9FC7-EBC694513068}"/>
              </a:ext>
            </a:extLst>
          </p:cNvPr>
          <p:cNvSpPr txBox="1"/>
          <p:nvPr/>
        </p:nvSpPr>
        <p:spPr>
          <a:xfrm>
            <a:off x="2264684" y="2282704"/>
            <a:ext cx="192051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/>
              <a:t>Bankene/Finans Norge, GIEK og Finansdepartementet har jobbet godt sammen for å skape en ordning som er gjennomførbar. </a:t>
            </a:r>
          </a:p>
          <a:p>
            <a:endParaRPr lang="en-US" sz="105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CDAC5C-A3B3-4E81-8520-2569A7C7274B}"/>
              </a:ext>
            </a:extLst>
          </p:cNvPr>
          <p:cNvSpPr txBox="1"/>
          <p:nvPr/>
        </p:nvSpPr>
        <p:spPr>
          <a:xfrm>
            <a:off x="239039" y="3909172"/>
            <a:ext cx="208262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spc="225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FORVALTERANSVAR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B59473B-FF22-4D77-B1E0-AB66F06A7943}"/>
              </a:ext>
            </a:extLst>
          </p:cNvPr>
          <p:cNvSpPr txBox="1"/>
          <p:nvPr/>
        </p:nvSpPr>
        <p:spPr>
          <a:xfrm>
            <a:off x="239038" y="4128514"/>
            <a:ext cx="1920515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/>
              <a:t>Bankene tar forvalteransvaret og bestillingen om å finansiere «ellers levedyktige» bedrifter på alvor.</a:t>
            </a:r>
          </a:p>
          <a:p>
            <a:endParaRPr lang="en-US" sz="1050" dirty="0"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ACE1C62-C542-424B-9B25-1DC719AAA34C}"/>
              </a:ext>
            </a:extLst>
          </p:cNvPr>
          <p:cNvSpPr txBox="1"/>
          <p:nvPr/>
        </p:nvSpPr>
        <p:spPr>
          <a:xfrm>
            <a:off x="2264683" y="3906130"/>
            <a:ext cx="121379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spc="225" dirty="0">
                <a:solidFill>
                  <a:schemeClr val="tx2"/>
                </a:solidFill>
                <a:latin typeface="Montserrat Semi" charset="0"/>
                <a:ea typeface="Montserrat Semi" charset="0"/>
                <a:cs typeface="Montserrat Semi" charset="0"/>
              </a:rPr>
              <a:t>AVVIKLI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E40C5A5-9CFC-4522-8D2D-E7AD748CE730}"/>
              </a:ext>
            </a:extLst>
          </p:cNvPr>
          <p:cNvSpPr txBox="1"/>
          <p:nvPr/>
        </p:nvSpPr>
        <p:spPr>
          <a:xfrm>
            <a:off x="2236276" y="4128514"/>
            <a:ext cx="1920515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/>
              <a:t>Prosess rundt avvikling av ordningen må avklares, i tillegg til eventuell forlengelse av garantiperioden"</a:t>
            </a:r>
          </a:p>
          <a:p>
            <a:endParaRPr lang="en-US" sz="1050" dirty="0">
              <a:latin typeface="Lato Light" charset="0"/>
              <a:ea typeface="Lato Light" charset="0"/>
              <a:cs typeface="Lato Light" charset="0"/>
            </a:endParaRPr>
          </a:p>
        </p:txBody>
      </p:sp>
      <p:pic>
        <p:nvPicPr>
          <p:cNvPr id="3" name="Grafikk 2" descr="Håndtrykk">
            <a:extLst>
              <a:ext uri="{FF2B5EF4-FFF2-40B4-BE49-F238E27FC236}">
                <a16:creationId xmlns:a16="http://schemas.microsoft.com/office/drawing/2014/main" id="{E19AAFF7-2BB3-44F8-840C-5A57DE44A0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91279" y="1587490"/>
            <a:ext cx="543375" cy="543375"/>
          </a:xfrm>
          <a:prstGeom prst="rect">
            <a:avLst/>
          </a:prstGeom>
        </p:spPr>
      </p:pic>
      <p:pic>
        <p:nvPicPr>
          <p:cNvPr id="5" name="Grafikk 4" descr="Penger">
            <a:extLst>
              <a:ext uri="{FF2B5EF4-FFF2-40B4-BE49-F238E27FC236}">
                <a16:creationId xmlns:a16="http://schemas.microsoft.com/office/drawing/2014/main" id="{3B72E81A-F85F-4029-AFC9-2BF17D4708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7207" y="1600128"/>
            <a:ext cx="463235" cy="463235"/>
          </a:xfrm>
          <a:prstGeom prst="rect">
            <a:avLst/>
          </a:prstGeom>
        </p:spPr>
      </p:pic>
      <p:pic>
        <p:nvPicPr>
          <p:cNvPr id="7" name="Grafikk 6" descr="Bank">
            <a:extLst>
              <a:ext uri="{FF2B5EF4-FFF2-40B4-BE49-F238E27FC236}">
                <a16:creationId xmlns:a16="http://schemas.microsoft.com/office/drawing/2014/main" id="{A48F3E95-5CAB-4D9C-AE2A-BA412C8BDEA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7207" y="3431896"/>
            <a:ext cx="511378" cy="511378"/>
          </a:xfrm>
          <a:prstGeom prst="rect">
            <a:avLst/>
          </a:prstGeom>
        </p:spPr>
      </p:pic>
      <p:pic>
        <p:nvPicPr>
          <p:cNvPr id="9" name="Grafikk 8" descr="Lukk">
            <a:extLst>
              <a:ext uri="{FF2B5EF4-FFF2-40B4-BE49-F238E27FC236}">
                <a16:creationId xmlns:a16="http://schemas.microsoft.com/office/drawing/2014/main" id="{CE07F3FC-98E0-40DE-AEC8-4B8639945D5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291279" y="3479516"/>
            <a:ext cx="429657" cy="42965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121385B-B564-48F9-BAA8-8A97A09F4E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65491" y="1697234"/>
            <a:ext cx="4388274" cy="293874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ADD7CA8-1E29-4241-9510-5219E442F4D8}"/>
              </a:ext>
            </a:extLst>
          </p:cNvPr>
          <p:cNvSpPr txBox="1"/>
          <p:nvPr/>
        </p:nvSpPr>
        <p:spPr>
          <a:xfrm>
            <a:off x="4572000" y="4635974"/>
            <a:ext cx="627095" cy="2134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787" dirty="0"/>
              <a:t>Kilde: GIEK</a:t>
            </a: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spc="225" dirty="0">
                <a:solidFill>
                  <a:schemeClr val="accent1">
                    <a:lumMod val="90000"/>
                    <a:lumOff val="10000"/>
                  </a:schemeClr>
                </a:solidFill>
                <a:ea typeface="Montserrat Semi" charset="0"/>
                <a:cs typeface="Montserrat Semi" charset="0"/>
              </a:rPr>
              <a:t>Status </a:t>
            </a:r>
            <a:r>
              <a:rPr lang="en-US" sz="3200" spc="225" dirty="0" err="1">
                <a:solidFill>
                  <a:schemeClr val="accent1">
                    <a:lumMod val="90000"/>
                    <a:lumOff val="10000"/>
                  </a:schemeClr>
                </a:solidFill>
                <a:ea typeface="Montserrat Semi" charset="0"/>
                <a:cs typeface="Montserrat Semi" charset="0"/>
              </a:rPr>
              <a:t>lånegarantiordningen</a:t>
            </a:r>
            <a:r>
              <a:rPr lang="en-US" sz="3200" spc="225" dirty="0">
                <a:solidFill>
                  <a:schemeClr val="accent1">
                    <a:lumMod val="90000"/>
                    <a:lumOff val="10000"/>
                  </a:schemeClr>
                </a:solidFill>
                <a:ea typeface="Montserrat Semi" charset="0"/>
                <a:cs typeface="Montserrat Semi" charset="0"/>
              </a:rPr>
              <a:t> </a:t>
            </a:r>
            <a:endParaRPr lang="nb-NO" sz="28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18310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FFB9E5C-7B9A-4166-BABE-D7E56355C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1960" y="121196"/>
            <a:ext cx="4611801" cy="679450"/>
          </a:xfrm>
        </p:spPr>
        <p:txBody>
          <a:bodyPr/>
          <a:lstStyle/>
          <a:p>
            <a:pPr algn="ctr"/>
            <a:r>
              <a:rPr lang="nb-NO" dirty="0"/>
              <a:t>Covid-19 effekter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29E0069-0E9E-4F32-9100-6A5D3221D1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847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80992D6-4936-49CE-BECC-D60D6778B607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797C80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pPr marL="0" marR="0" lvl="0" indent="0" algn="l" defTabSz="8477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797C80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CB90B822-3712-48A8-9F1B-553ECC2F4E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529" y="3927574"/>
            <a:ext cx="2796351" cy="1594222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25DE2BC3-43AA-4AE0-BE65-20544A60BB35}"/>
              </a:ext>
            </a:extLst>
          </p:cNvPr>
          <p:cNvSpPr txBox="1"/>
          <p:nvPr/>
        </p:nvSpPr>
        <p:spPr>
          <a:xfrm>
            <a:off x="4145268" y="2497460"/>
            <a:ext cx="469248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477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/>
              </a:rPr>
              <a:t>Andel valutahandel på kredittkort sank som følge av restriksjoner fra 14% til 2,5%.</a:t>
            </a:r>
            <a:r>
              <a:rPr kumimoji="0" lang="nb-NO" sz="1800" b="0" i="0" u="none" strike="noStrike" kern="1200" cap="none" spc="0" normalizeH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/>
              </a:rPr>
              <a:t> Fra juni </a:t>
            </a:r>
            <a:r>
              <a:rPr lang="nb-NO" sz="1800" dirty="0">
                <a:solidFill>
                  <a:srgbClr val="1F497D"/>
                </a:solidFill>
                <a:cs typeface="Calibri"/>
              </a:rPr>
              <a:t>en s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/>
              </a:rPr>
              <a:t>vak positiv utvikling.</a:t>
            </a:r>
          </a:p>
          <a:p>
            <a:pPr marL="0" marR="0" lvl="0" indent="0" algn="l" defTabSz="8477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/>
            </a:endParaRPr>
          </a:p>
          <a:p>
            <a:pPr marL="0" marR="0" lvl="0" indent="0" algn="l" defTabSz="8477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 pitchFamily="34" charset="0"/>
              <a:ea typeface="+mn-ea"/>
              <a:cs typeface="Calibri"/>
            </a:endParaRPr>
          </a:p>
          <a:p>
            <a:pPr marL="0" marR="0" lvl="0" indent="0" algn="l" defTabSz="8477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/>
              </a:rPr>
              <a:t>Omsetning kredittkort falt med 30%, men har tatt seg opp igjen.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6B44382-B78A-43C4-B05F-309EF4D819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530" y="2137420"/>
            <a:ext cx="2796350" cy="1728192"/>
          </a:xfrm>
          <a:prstGeom prst="rect">
            <a:avLst/>
          </a:prstGeom>
        </p:spPr>
      </p:pic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49CCA92-23A7-44DB-B081-9744A7B5D6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455938"/>
              </p:ext>
            </p:extLst>
          </p:nvPr>
        </p:nvGraphicFramePr>
        <p:xfrm>
          <a:off x="698961" y="203250"/>
          <a:ext cx="2765519" cy="187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9504D006-D5FC-4D48-A106-6FE750BBBFA5}"/>
              </a:ext>
            </a:extLst>
          </p:cNvPr>
          <p:cNvSpPr txBox="1"/>
          <p:nvPr/>
        </p:nvSpPr>
        <p:spPr>
          <a:xfrm>
            <a:off x="4139952" y="1070074"/>
            <a:ext cx="44644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477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 pitchFamily="34" charset="0"/>
                <a:ea typeface="+mn-ea"/>
                <a:cs typeface="Calibri"/>
              </a:rPr>
              <a:t>Egenutviklet digital løype for å imøtekomme forespørsler om avdragsfrihet. Sterkt avtagende henvendelser etter april.</a:t>
            </a:r>
          </a:p>
        </p:txBody>
      </p:sp>
    </p:spTree>
    <p:extLst>
      <p:ext uri="{BB962C8B-B14F-4D97-AF65-F5344CB8AC3E}">
        <p14:creationId xmlns:p14="http://schemas.microsoft.com/office/powerpoint/2010/main" val="84520855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Fall i produksjon og investeringer</a:t>
            </a:r>
            <a:endParaRPr lang="en-GB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5194300"/>
            <a:ext cx="252413" cy="146050"/>
          </a:xfrm>
        </p:spPr>
        <p:txBody>
          <a:bodyPr/>
          <a:lstStyle/>
          <a:p>
            <a:fld id="{69EBE4DC-8BA7-4CDF-8986-782071135176}" type="slidenum">
              <a:rPr lang="en-US" altLang="nb-NO" smtClean="0"/>
              <a:pPr/>
              <a:t>6</a:t>
            </a:fld>
            <a:endParaRPr lang="en-US" alt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5567363"/>
            <a:ext cx="2711450" cy="147637"/>
          </a:xfrm>
        </p:spPr>
        <p:txBody>
          <a:bodyPr/>
          <a:lstStyle/>
          <a:p>
            <a:pPr>
              <a:defRPr/>
            </a:pPr>
            <a:r>
              <a:rPr lang="nb-NO" sz="700" dirty="0">
                <a:solidFill>
                  <a:schemeClr val="bg1"/>
                </a:solidFill>
              </a:rPr>
              <a:t>Kilde: Norges bank (Regionalt nettverk 2/2020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868144" y="1633364"/>
            <a:ext cx="295232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395536" y="1522238"/>
            <a:ext cx="38164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err="1">
                <a:solidFill>
                  <a:srgbClr val="55555A"/>
                </a:solidFill>
              </a:rPr>
              <a:t>Vekst</a:t>
            </a:r>
            <a:r>
              <a:rPr lang="en-GB" sz="2000" b="1" dirty="0">
                <a:solidFill>
                  <a:srgbClr val="55555A"/>
                </a:solidFill>
              </a:rPr>
              <a:t> </a:t>
            </a:r>
            <a:r>
              <a:rPr lang="en-GB" sz="2000" b="1" dirty="0" err="1">
                <a:solidFill>
                  <a:srgbClr val="55555A"/>
                </a:solidFill>
              </a:rPr>
              <a:t>i</a:t>
            </a:r>
            <a:r>
              <a:rPr lang="en-GB" sz="2000" b="1" dirty="0">
                <a:solidFill>
                  <a:srgbClr val="55555A"/>
                </a:solidFill>
              </a:rPr>
              <a:t> </a:t>
            </a:r>
            <a:r>
              <a:rPr lang="en-GB" sz="2000" b="1" dirty="0" err="1">
                <a:solidFill>
                  <a:srgbClr val="55555A"/>
                </a:solidFill>
              </a:rPr>
              <a:t>produksjon</a:t>
            </a:r>
            <a:endParaRPr lang="en-GB" sz="2000" b="1" dirty="0">
              <a:solidFill>
                <a:srgbClr val="55555A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716016" y="1519582"/>
            <a:ext cx="3600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err="1">
                <a:solidFill>
                  <a:srgbClr val="55555A"/>
                </a:solidFill>
              </a:rPr>
              <a:t>Vekst</a:t>
            </a:r>
            <a:r>
              <a:rPr lang="en-GB" sz="2000" b="1" dirty="0">
                <a:solidFill>
                  <a:srgbClr val="55555A"/>
                </a:solidFill>
              </a:rPr>
              <a:t> </a:t>
            </a:r>
            <a:r>
              <a:rPr lang="en-GB" sz="2000" b="1" dirty="0" err="1">
                <a:solidFill>
                  <a:srgbClr val="55555A"/>
                </a:solidFill>
              </a:rPr>
              <a:t>i</a:t>
            </a:r>
            <a:r>
              <a:rPr lang="en-GB" sz="2000" b="1" dirty="0">
                <a:solidFill>
                  <a:srgbClr val="55555A"/>
                </a:solidFill>
              </a:rPr>
              <a:t> </a:t>
            </a:r>
            <a:r>
              <a:rPr lang="en-GB" sz="2000" b="1" dirty="0" err="1">
                <a:solidFill>
                  <a:srgbClr val="55555A"/>
                </a:solidFill>
              </a:rPr>
              <a:t>investeringer</a:t>
            </a:r>
            <a:endParaRPr lang="en-GB" sz="2000" b="1" dirty="0">
              <a:solidFill>
                <a:srgbClr val="55555A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5536" y="1993404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 dirty="0" err="1">
                <a:solidFill>
                  <a:srgbClr val="55555A"/>
                </a:solidFill>
              </a:rPr>
              <a:t>Vekst</a:t>
            </a:r>
            <a:r>
              <a:rPr lang="en-GB" sz="1000" i="1" dirty="0">
                <a:solidFill>
                  <a:srgbClr val="55555A"/>
                </a:solidFill>
              </a:rPr>
              <a:t> </a:t>
            </a:r>
            <a:r>
              <a:rPr lang="en-GB" sz="1000" i="1" dirty="0" err="1">
                <a:solidFill>
                  <a:srgbClr val="55555A"/>
                </a:solidFill>
              </a:rPr>
              <a:t>siste</a:t>
            </a:r>
            <a:r>
              <a:rPr lang="en-GB" sz="1000" i="1" dirty="0">
                <a:solidFill>
                  <a:srgbClr val="55555A"/>
                </a:solidFill>
              </a:rPr>
              <a:t> 3 </a:t>
            </a:r>
            <a:r>
              <a:rPr lang="en-GB" sz="1000" i="1" dirty="0" err="1">
                <a:solidFill>
                  <a:srgbClr val="55555A"/>
                </a:solidFill>
              </a:rPr>
              <a:t>mnd</a:t>
            </a:r>
            <a:endParaRPr lang="en-GB" sz="1000" i="1" dirty="0">
              <a:solidFill>
                <a:srgbClr val="55555A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716016" y="1993404"/>
            <a:ext cx="18722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i="1" dirty="0" err="1">
                <a:solidFill>
                  <a:srgbClr val="55555A"/>
                </a:solidFill>
              </a:rPr>
              <a:t>Forventet</a:t>
            </a:r>
            <a:r>
              <a:rPr lang="en-GB" sz="1000" i="1" dirty="0">
                <a:solidFill>
                  <a:srgbClr val="55555A"/>
                </a:solidFill>
              </a:rPr>
              <a:t> </a:t>
            </a:r>
            <a:r>
              <a:rPr lang="en-GB" sz="1000" i="1" dirty="0" err="1">
                <a:solidFill>
                  <a:srgbClr val="55555A"/>
                </a:solidFill>
              </a:rPr>
              <a:t>utvikling</a:t>
            </a:r>
            <a:r>
              <a:rPr lang="en-GB" sz="1000" i="1" dirty="0">
                <a:solidFill>
                  <a:srgbClr val="55555A"/>
                </a:solidFill>
              </a:rPr>
              <a:t> </a:t>
            </a:r>
            <a:r>
              <a:rPr lang="en-GB" sz="1000" i="1" dirty="0" err="1">
                <a:solidFill>
                  <a:srgbClr val="55555A"/>
                </a:solidFill>
              </a:rPr>
              <a:t>neste</a:t>
            </a:r>
            <a:r>
              <a:rPr lang="en-GB" sz="1000" i="1" dirty="0">
                <a:solidFill>
                  <a:srgbClr val="55555A"/>
                </a:solidFill>
              </a:rPr>
              <a:t> 12 </a:t>
            </a:r>
            <a:r>
              <a:rPr lang="en-GB" sz="1000" i="1" dirty="0" err="1">
                <a:solidFill>
                  <a:srgbClr val="55555A"/>
                </a:solidFill>
              </a:rPr>
              <a:t>mnd</a:t>
            </a:r>
            <a:endParaRPr lang="en-GB" sz="1000" i="1" dirty="0">
              <a:solidFill>
                <a:srgbClr val="55555A"/>
              </a:solidFill>
            </a:endParaRPr>
          </a:p>
        </p:txBody>
      </p:sp>
      <p:graphicFrame>
        <p:nvGraphicFramePr>
          <p:cNvPr id="17" name="Chart 23"/>
          <p:cNvGraphicFramePr>
            <a:graphicFrameLocks/>
          </p:cNvGraphicFramePr>
          <p:nvPr/>
        </p:nvGraphicFramePr>
        <p:xfrm>
          <a:off x="427261" y="1650892"/>
          <a:ext cx="3862653" cy="3240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hart 23"/>
          <p:cNvGraphicFramePr>
            <a:graphicFrameLocks/>
          </p:cNvGraphicFramePr>
          <p:nvPr/>
        </p:nvGraphicFramePr>
        <p:xfrm>
          <a:off x="4716016" y="1670828"/>
          <a:ext cx="3897313" cy="3240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64506" y="4873724"/>
            <a:ext cx="681580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>
                <a:solidFill>
                  <a:srgbClr val="55555A"/>
                </a:solidFill>
              </a:rPr>
              <a:t>Indeksene går fra -5 til +5, der -5 indikerer et stort fall og +5 indikerer kraftig vekst. Indeksene utarbeides kvartalsvis av Norges Bank via Regionalt nettverk og viser utviklingen i region sør, som består av Agder og Vestfold og Telemark.</a:t>
            </a:r>
          </a:p>
          <a:p>
            <a:endParaRPr lang="nb-NO" sz="1050" dirty="0">
              <a:solidFill>
                <a:srgbClr val="5555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54731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29365" y="161826"/>
            <a:ext cx="7199312" cy="679450"/>
          </a:xfrm>
        </p:spPr>
        <p:txBody>
          <a:bodyPr/>
          <a:lstStyle/>
          <a:p>
            <a:r>
              <a:rPr lang="nb-NO" altLang="nb-NO" dirty="0">
                <a:latin typeface="Calibri" pitchFamily="34" charset="0"/>
                <a:cs typeface="Calibri" pitchFamily="34" charset="0"/>
              </a:rPr>
              <a:t>Utviklingen i boligmarkedet</a:t>
            </a:r>
            <a:endParaRPr lang="nb-NO" sz="2000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D4C5FB3-58AA-4ABC-B265-E61A30B4851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7" name="TekstSylinder 6"/>
          <p:cNvSpPr txBox="1"/>
          <p:nvPr/>
        </p:nvSpPr>
        <p:spPr>
          <a:xfrm>
            <a:off x="7459842" y="610444"/>
            <a:ext cx="17206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Kilde: Eiendomsverdi juli 2020</a:t>
            </a:r>
          </a:p>
        </p:txBody>
      </p:sp>
      <p:pic>
        <p:nvPicPr>
          <p:cNvPr id="10" name="Plassholder for innhold 9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63886" y="889905"/>
            <a:ext cx="5472609" cy="3695787"/>
          </a:xfrm>
          <a:prstGeom prst="rect">
            <a:avLst/>
          </a:prstGeom>
        </p:spPr>
      </p:pic>
      <p:sp>
        <p:nvSpPr>
          <p:cNvPr id="11" name="TekstSylinder 10"/>
          <p:cNvSpPr txBox="1"/>
          <p:nvPr/>
        </p:nvSpPr>
        <p:spPr>
          <a:xfrm>
            <a:off x="3563887" y="4741902"/>
            <a:ext cx="2952329" cy="70788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000" dirty="0"/>
              <a:t>Sykepleierindeksen viser hvor stor andel av boligene (som ligger i markedet) en enslig sykepleier har mulighet til å kjøpe (basert på inntekt og </a:t>
            </a:r>
            <a:r>
              <a:rPr lang="nb-NO" sz="1000" dirty="0" err="1"/>
              <a:t>boliglånsforskriftens</a:t>
            </a:r>
            <a:r>
              <a:rPr lang="nb-NO" sz="1000" dirty="0"/>
              <a:t> forutsetninger)</a:t>
            </a: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-310852"/>
            <a:ext cx="3016560" cy="4536504"/>
          </a:xfrm>
          <a:prstGeom prst="rect">
            <a:avLst/>
          </a:prstGeom>
        </p:spPr>
      </p:pic>
      <p:sp>
        <p:nvSpPr>
          <p:cNvPr id="9" name="TextBox 18"/>
          <p:cNvSpPr txBox="1"/>
          <p:nvPr/>
        </p:nvSpPr>
        <p:spPr>
          <a:xfrm>
            <a:off x="351331" y="4390553"/>
            <a:ext cx="23484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err="1">
                <a:solidFill>
                  <a:srgbClr val="55555A"/>
                </a:solidFill>
              </a:rPr>
              <a:t>Positiv</a:t>
            </a:r>
            <a:r>
              <a:rPr lang="en-GB" sz="1400" dirty="0">
                <a:solidFill>
                  <a:srgbClr val="55555A"/>
                </a:solidFill>
              </a:rPr>
              <a:t> </a:t>
            </a:r>
            <a:r>
              <a:rPr lang="en-GB" sz="1400" dirty="0" err="1">
                <a:solidFill>
                  <a:srgbClr val="55555A"/>
                </a:solidFill>
              </a:rPr>
              <a:t>utvikling</a:t>
            </a:r>
            <a:r>
              <a:rPr lang="en-GB" sz="1400" dirty="0">
                <a:solidFill>
                  <a:srgbClr val="55555A"/>
                </a:solidFill>
              </a:rPr>
              <a:t> i </a:t>
            </a:r>
            <a:r>
              <a:rPr lang="en-GB" sz="1400" dirty="0" err="1">
                <a:solidFill>
                  <a:srgbClr val="55555A"/>
                </a:solidFill>
              </a:rPr>
              <a:t>boligpriser</a:t>
            </a:r>
            <a:endParaRPr lang="en-GB" sz="1400" dirty="0">
              <a:solidFill>
                <a:srgbClr val="5555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629331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4644008" y="1156453"/>
            <a:ext cx="35283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err="1">
                <a:solidFill>
                  <a:srgbClr val="55555A"/>
                </a:solidFill>
              </a:rPr>
              <a:t>Utvikling</a:t>
            </a:r>
            <a:r>
              <a:rPr lang="en-GB" sz="2000" b="1" dirty="0">
                <a:solidFill>
                  <a:srgbClr val="55555A"/>
                </a:solidFill>
              </a:rPr>
              <a:t> </a:t>
            </a:r>
            <a:r>
              <a:rPr lang="en-GB" sz="2000" b="1" dirty="0" err="1">
                <a:solidFill>
                  <a:srgbClr val="55555A"/>
                </a:solidFill>
              </a:rPr>
              <a:t>i</a:t>
            </a:r>
            <a:r>
              <a:rPr lang="en-GB" sz="2000" b="1" dirty="0">
                <a:solidFill>
                  <a:srgbClr val="55555A"/>
                </a:solidFill>
              </a:rPr>
              <a:t> </a:t>
            </a:r>
            <a:r>
              <a:rPr lang="en-GB" sz="2000" b="1" dirty="0" err="1">
                <a:solidFill>
                  <a:srgbClr val="55555A"/>
                </a:solidFill>
              </a:rPr>
              <a:t>sysselsetting</a:t>
            </a:r>
            <a:endParaRPr lang="en-GB" sz="2000" b="1" dirty="0">
              <a:solidFill>
                <a:srgbClr val="55555A"/>
              </a:solidFill>
            </a:endParaRPr>
          </a:p>
          <a:p>
            <a:endParaRPr lang="en-GB" sz="2000" b="1" dirty="0">
              <a:solidFill>
                <a:srgbClr val="55555A"/>
              </a:solidFill>
            </a:endParaRPr>
          </a:p>
        </p:txBody>
      </p:sp>
      <p:sp>
        <p:nvSpPr>
          <p:cNvPr id="18" name="TekstSylinder 13">
            <a:extLst>
              <a:ext uri="{FF2B5EF4-FFF2-40B4-BE49-F238E27FC236}">
                <a16:creationId xmlns:a16="http://schemas.microsoft.com/office/drawing/2014/main" id="{401242A4-47D2-47AB-A74C-B58CAD84929F}"/>
              </a:ext>
            </a:extLst>
          </p:cNvPr>
          <p:cNvSpPr txBox="1"/>
          <p:nvPr/>
        </p:nvSpPr>
        <p:spPr>
          <a:xfrm>
            <a:off x="4572000" y="1624072"/>
            <a:ext cx="19442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>
                <a:solidFill>
                  <a:srgbClr val="55555A"/>
                </a:solidFill>
              </a:rPr>
              <a:t>Vekst siste 3 </a:t>
            </a:r>
            <a:r>
              <a:rPr lang="nb-NO" sz="900" i="1" dirty="0" err="1">
                <a:solidFill>
                  <a:srgbClr val="55555A"/>
                </a:solidFill>
              </a:rPr>
              <a:t>mnd</a:t>
            </a:r>
            <a:r>
              <a:rPr lang="nb-NO" sz="900" i="1" dirty="0">
                <a:solidFill>
                  <a:srgbClr val="55555A"/>
                </a:solidFill>
              </a:rPr>
              <a:t>, pros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r>
              <a:rPr lang="nb-NO" sz="3200" dirty="0"/>
              <a:t>Utvikling i arbeidsmarkedet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5194300"/>
            <a:ext cx="252413" cy="146050"/>
          </a:xfrm>
        </p:spPr>
        <p:txBody>
          <a:bodyPr/>
          <a:lstStyle/>
          <a:p>
            <a:fld id="{69EBE4DC-8BA7-4CDF-8986-782071135176}" type="slidenum">
              <a:rPr lang="en-US" altLang="nb-NO" smtClean="0"/>
              <a:pPr/>
              <a:t>8</a:t>
            </a:fld>
            <a:endParaRPr lang="en-US" alt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5567363"/>
            <a:ext cx="4356100" cy="147637"/>
          </a:xfrm>
        </p:spPr>
        <p:txBody>
          <a:bodyPr/>
          <a:lstStyle/>
          <a:p>
            <a:pPr>
              <a:defRPr/>
            </a:pPr>
            <a:r>
              <a:rPr lang="nb-NO" sz="700" dirty="0">
                <a:solidFill>
                  <a:schemeClr val="bg1"/>
                </a:solidFill>
              </a:rPr>
              <a:t>Kilde: NAV (Hovedtall fra arbeidsmarkedet august), Norges Bank (Regionalt nettverk 2/2020)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401242A4-47D2-47AB-A74C-B58CAD84929F}"/>
              </a:ext>
            </a:extLst>
          </p:cNvPr>
          <p:cNvSpPr txBox="1"/>
          <p:nvPr/>
        </p:nvSpPr>
        <p:spPr>
          <a:xfrm>
            <a:off x="755576" y="1549434"/>
            <a:ext cx="1512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>
                <a:solidFill>
                  <a:srgbClr val="55555A"/>
                </a:solidFill>
              </a:rPr>
              <a:t>Prosent endring i antall arbeidsledige, siste 12 </a:t>
            </a:r>
            <a:r>
              <a:rPr lang="nb-NO" sz="900" i="1" dirty="0" err="1">
                <a:solidFill>
                  <a:srgbClr val="55555A"/>
                </a:solidFill>
              </a:rPr>
              <a:t>mnd</a:t>
            </a:r>
            <a:r>
              <a:rPr lang="nb-NO" sz="900" i="1" dirty="0">
                <a:solidFill>
                  <a:srgbClr val="55555A"/>
                </a:solidFill>
              </a:rPr>
              <a:t>*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55576" y="1152391"/>
            <a:ext cx="33843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err="1">
                <a:solidFill>
                  <a:srgbClr val="55555A"/>
                </a:solidFill>
              </a:rPr>
              <a:t>Arbeidsledighet</a:t>
            </a:r>
            <a:endParaRPr lang="en-GB" sz="2000" b="1" dirty="0">
              <a:solidFill>
                <a:srgbClr val="55555A"/>
              </a:solidFill>
            </a:endParaRPr>
          </a:p>
        </p:txBody>
      </p:sp>
      <p:graphicFrame>
        <p:nvGraphicFramePr>
          <p:cNvPr id="13" name="Chart 16"/>
          <p:cNvGraphicFramePr>
            <a:graphicFrameLocks/>
          </p:cNvGraphicFramePr>
          <p:nvPr/>
        </p:nvGraphicFramePr>
        <p:xfrm>
          <a:off x="4787900" y="1560835"/>
          <a:ext cx="4008438" cy="2880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6"/>
          <p:cNvSpPr txBox="1"/>
          <p:nvPr/>
        </p:nvSpPr>
        <p:spPr>
          <a:xfrm>
            <a:off x="4355976" y="4539963"/>
            <a:ext cx="3816424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>
                <a:solidFill>
                  <a:srgbClr val="55555A"/>
                </a:solidFill>
              </a:rPr>
              <a:t>Indeksene går fra -5 til +5, der -5 indikerer et stort fall og +5 indikerer kraftig vekst. Indeksene utarbeides kvartalsvis av Norges Bank via Regionalt nettverk og viser utviklingen i region sør, som består av Agder og Vestfold og Telemark</a:t>
            </a:r>
          </a:p>
          <a:p>
            <a:endParaRPr lang="nb-NO" sz="1050" dirty="0">
              <a:solidFill>
                <a:srgbClr val="55555A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02" y="337220"/>
            <a:ext cx="3349050" cy="463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669651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/>
          <p:cNvSpPr>
            <a:spLocks noGrp="1"/>
          </p:cNvSpPr>
          <p:nvPr>
            <p:ph type="title"/>
          </p:nvPr>
        </p:nvSpPr>
        <p:spPr>
          <a:xfrm>
            <a:off x="251520" y="121196"/>
            <a:ext cx="8424614" cy="679450"/>
          </a:xfrm>
        </p:spPr>
        <p:txBody>
          <a:bodyPr/>
          <a:lstStyle/>
          <a:p>
            <a:pPr algn="ctr"/>
            <a:r>
              <a:rPr lang="nb-NO" dirty="0"/>
              <a:t>God sommer for reiselivsnæringen på Sørlandet</a:t>
            </a:r>
          </a:p>
        </p:txBody>
      </p:sp>
      <p:sp>
        <p:nvSpPr>
          <p:cNvPr id="9" name="Plassholder for innhold 8"/>
          <p:cNvSpPr>
            <a:spLocks noGrp="1"/>
          </p:cNvSpPr>
          <p:nvPr>
            <p:ph idx="1"/>
          </p:nvPr>
        </p:nvSpPr>
        <p:spPr>
          <a:xfrm>
            <a:off x="251518" y="985292"/>
            <a:ext cx="4248473" cy="4176464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/>
              <a:t>Reiselivsnæringen i landsdelen har hatt en meget god sommersesong</a:t>
            </a: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/>
              <a:t>Stor tilstrømming av turister til landsdelen</a:t>
            </a: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/>
              <a:t>Fulle hoteller</a:t>
            </a: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/>
              <a:t>Godt besøk på aktivitetsvirksomheter 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nb-NO" sz="1600" b="1" dirty="0"/>
              <a:t>Men</a:t>
            </a:r>
            <a:r>
              <a:rPr lang="nb-NO" sz="1600" dirty="0"/>
              <a:t> (fra NHOs medlemsundersøkelse):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En av tre reiselivsbedrifter har ikke bestillinger for oktober og november i år 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70 % oppgir lavere forhåndsbooking enn på samme tid i fjor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Nesten halvparten har planer om å gjennomføre oppsigelser i nær fremtid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solidFill>
                  <a:schemeClr val="tx1"/>
                </a:solidFill>
              </a:rPr>
              <a:t>En fjerdedel av bedriftene frykter for konkurs i nær fremti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600" dirty="0"/>
          </a:p>
          <a:p>
            <a:pPr>
              <a:lnSpc>
                <a:spcPct val="100000"/>
              </a:lnSpc>
            </a:pPr>
            <a:endParaRPr lang="nb-NO" sz="20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EBE4DC-8BA7-4CDF-8986-782071135176}" type="slidenum">
              <a:rPr lang="en-US" altLang="nb-NO" smtClean="0"/>
              <a:pPr/>
              <a:t>9</a:t>
            </a:fld>
            <a:endParaRPr lang="en-US" altLang="nb-NO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565" y="913283"/>
            <a:ext cx="2068675" cy="1872209"/>
          </a:xfrm>
          <a:prstGeom prst="rect">
            <a:avLst/>
          </a:prstGeom>
        </p:spPr>
      </p:pic>
      <p:sp>
        <p:nvSpPr>
          <p:cNvPr id="12" name="TekstSylinder 11"/>
          <p:cNvSpPr txBox="1"/>
          <p:nvPr/>
        </p:nvSpPr>
        <p:spPr>
          <a:xfrm>
            <a:off x="4572000" y="2713484"/>
            <a:ext cx="2088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Fedrelandsvennen 17.07.20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1463" y="913284"/>
            <a:ext cx="2325033" cy="1698577"/>
          </a:xfrm>
          <a:prstGeom prst="rect">
            <a:avLst/>
          </a:prstGeom>
        </p:spPr>
      </p:pic>
      <p:sp>
        <p:nvSpPr>
          <p:cNvPr id="14" name="TekstSylinder 13"/>
          <p:cNvSpPr txBox="1"/>
          <p:nvPr/>
        </p:nvSpPr>
        <p:spPr>
          <a:xfrm>
            <a:off x="6732240" y="2569468"/>
            <a:ext cx="2088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Fedrelandsvennen 14.07.20</a:t>
            </a:r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80461" y="2929508"/>
            <a:ext cx="2151779" cy="1779631"/>
          </a:xfrm>
          <a:prstGeom prst="rect">
            <a:avLst/>
          </a:prstGeom>
        </p:spPr>
      </p:pic>
      <p:sp>
        <p:nvSpPr>
          <p:cNvPr id="16" name="TekstSylinder 15"/>
          <p:cNvSpPr txBox="1"/>
          <p:nvPr/>
        </p:nvSpPr>
        <p:spPr>
          <a:xfrm>
            <a:off x="4644008" y="4714900"/>
            <a:ext cx="2088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DN 31.07.20</a:t>
            </a:r>
          </a:p>
        </p:txBody>
      </p:sp>
      <p:pic>
        <p:nvPicPr>
          <p:cNvPr id="17" name="Bild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2240" y="2796515"/>
            <a:ext cx="1879186" cy="1645161"/>
          </a:xfrm>
          <a:prstGeom prst="rect">
            <a:avLst/>
          </a:prstGeom>
        </p:spPr>
      </p:pic>
      <p:sp>
        <p:nvSpPr>
          <p:cNvPr id="18" name="TekstSylinder 17"/>
          <p:cNvSpPr txBox="1"/>
          <p:nvPr/>
        </p:nvSpPr>
        <p:spPr>
          <a:xfrm>
            <a:off x="6732240" y="4441676"/>
            <a:ext cx="208823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Fedrelandsvennen 08.07.20</a:t>
            </a:r>
          </a:p>
        </p:txBody>
      </p:sp>
    </p:spTree>
    <p:extLst>
      <p:ext uri="{BB962C8B-B14F-4D97-AF65-F5344CB8AC3E}">
        <p14:creationId xmlns:p14="http://schemas.microsoft.com/office/powerpoint/2010/main" val="218521362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xQb.aD_Eq0X1nFLfPvIQ"/>
</p:tagLst>
</file>

<file path=ppt/theme/theme1.xml><?xml version="1.0" encoding="utf-8"?>
<a:theme xmlns:a="http://schemas.openxmlformats.org/drawingml/2006/main" name="2014-01-30 - sbs ppmal 16-9 (2)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10.xml><?xml version="1.0" encoding="utf-8"?>
<a:theme xmlns:a="http://schemas.openxmlformats.org/drawingml/2006/main" name="19_2014-01-30 - sbs ppmal 16-9">
  <a:themeElements>
    <a:clrScheme name="Sparebanken Sør">
      <a:dk1>
        <a:srgbClr val="323232"/>
      </a:dk1>
      <a:lt1>
        <a:sysClr val="window" lastClr="FFFFFF"/>
      </a:lt1>
      <a:dk2>
        <a:srgbClr val="231464"/>
      </a:dk2>
      <a:lt2>
        <a:srgbClr val="E1F0F5"/>
      </a:lt2>
      <a:accent1>
        <a:srgbClr val="783CBE"/>
      </a:accent1>
      <a:accent2>
        <a:srgbClr val="E14605"/>
      </a:accent2>
      <a:accent3>
        <a:srgbClr val="FAAF00"/>
      </a:accent3>
      <a:accent4>
        <a:srgbClr val="FFF0CD"/>
      </a:accent4>
      <a:accent5>
        <a:srgbClr val="E1F0F5"/>
      </a:accent5>
      <a:accent6>
        <a:srgbClr val="231464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515CF-85DD-4E72-9B90-FCC743D05A97}" vid="{28C73DA6-E969-4F66-80FB-8A454C0CFE71}"/>
    </a:ext>
  </a:extLst>
</a:theme>
</file>

<file path=ppt/theme/theme11.xml><?xml version="1.0" encoding="utf-8"?>
<a:theme xmlns:a="http://schemas.openxmlformats.org/drawingml/2006/main" name="29_2014-01-30 - sbs ppmal 16-9">
  <a:themeElements>
    <a:clrScheme name="Sparebanken Sør">
      <a:dk1>
        <a:srgbClr val="323232"/>
      </a:dk1>
      <a:lt1>
        <a:sysClr val="window" lastClr="FFFFFF"/>
      </a:lt1>
      <a:dk2>
        <a:srgbClr val="231464"/>
      </a:dk2>
      <a:lt2>
        <a:srgbClr val="E1F0F5"/>
      </a:lt2>
      <a:accent1>
        <a:srgbClr val="783CBE"/>
      </a:accent1>
      <a:accent2>
        <a:srgbClr val="E14605"/>
      </a:accent2>
      <a:accent3>
        <a:srgbClr val="FAAF00"/>
      </a:accent3>
      <a:accent4>
        <a:srgbClr val="FFF0CD"/>
      </a:accent4>
      <a:accent5>
        <a:srgbClr val="E1F0F5"/>
      </a:accent5>
      <a:accent6>
        <a:srgbClr val="231464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515CF-85DD-4E72-9B90-FCC743D05A97}" vid="{28C73DA6-E969-4F66-80FB-8A454C0CFE71}"/>
    </a:ext>
  </a:extLst>
</a:theme>
</file>

<file path=ppt/theme/theme12.xml><?xml version="1.0" encoding="utf-8"?>
<a:theme xmlns:a="http://schemas.openxmlformats.org/drawingml/2006/main" name="20_2014-01-30 - sbs ppmal 16-9">
  <a:themeElements>
    <a:clrScheme name="Sparebanken Sør">
      <a:dk1>
        <a:srgbClr val="323232"/>
      </a:dk1>
      <a:lt1>
        <a:sysClr val="window" lastClr="FFFFFF"/>
      </a:lt1>
      <a:dk2>
        <a:srgbClr val="231464"/>
      </a:dk2>
      <a:lt2>
        <a:srgbClr val="E1F0F5"/>
      </a:lt2>
      <a:accent1>
        <a:srgbClr val="783CBE"/>
      </a:accent1>
      <a:accent2>
        <a:srgbClr val="E14605"/>
      </a:accent2>
      <a:accent3>
        <a:srgbClr val="FAAF00"/>
      </a:accent3>
      <a:accent4>
        <a:srgbClr val="FFF0CD"/>
      </a:accent4>
      <a:accent5>
        <a:srgbClr val="E1F0F5"/>
      </a:accent5>
      <a:accent6>
        <a:srgbClr val="231464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515CF-85DD-4E72-9B90-FCC743D05A97}" vid="{28C73DA6-E969-4F66-80FB-8A454C0CFE71}"/>
    </a:ext>
  </a:extLst>
</a:theme>
</file>

<file path=ppt/theme/theme13.xml><?xml version="1.0" encoding="utf-8"?>
<a:theme xmlns:a="http://schemas.openxmlformats.org/drawingml/2006/main" name="Sør-Presentasjon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14.xml><?xml version="1.0" encoding="utf-8"?>
<a:theme xmlns:a="http://schemas.openxmlformats.org/drawingml/2006/main" name="4_2014-01-30 - sbs ppmal 16-9 (2)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15.xml><?xml version="1.0" encoding="utf-8"?>
<a:theme xmlns:a="http://schemas.openxmlformats.org/drawingml/2006/main" name="PD modeller PM - 11022014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16.xml><?xml version="1.0" encoding="utf-8"?>
<a:theme xmlns:a="http://schemas.openxmlformats.org/drawingml/2006/main" name="25_PD modeller PM - 11022014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17.xml><?xml version="1.0" encoding="utf-8"?>
<a:theme xmlns:a="http://schemas.openxmlformats.org/drawingml/2006/main" name="3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18.xml><?xml version="1.0" encoding="utf-8"?>
<a:theme xmlns:a="http://schemas.openxmlformats.org/drawingml/2006/main" name="4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19.xml><?xml version="1.0" encoding="utf-8"?>
<a:theme xmlns:a="http://schemas.openxmlformats.org/drawingml/2006/main" name="5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.xml><?xml version="1.0" encoding="utf-8"?>
<a:theme xmlns:a="http://schemas.openxmlformats.org/drawingml/2006/main" name="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0.xml><?xml version="1.0" encoding="utf-8"?>
<a:theme xmlns:a="http://schemas.openxmlformats.org/drawingml/2006/main" name="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1.xml><?xml version="1.0" encoding="utf-8"?>
<a:theme xmlns:a="http://schemas.openxmlformats.org/drawingml/2006/main" name="Sør-Presentasjon blå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2.xml><?xml version="1.0" encoding="utf-8"?>
<a:theme xmlns:a="http://schemas.openxmlformats.org/drawingml/2006/main" name="1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3.xml><?xml version="1.0" encoding="utf-8"?>
<a:theme xmlns:a="http://schemas.openxmlformats.org/drawingml/2006/main" name="6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4.xml><?xml version="1.0" encoding="utf-8"?>
<a:theme xmlns:a="http://schemas.openxmlformats.org/drawingml/2006/main" name="2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5.xml><?xml version="1.0" encoding="utf-8"?>
<a:theme xmlns:a="http://schemas.openxmlformats.org/drawingml/2006/main" name="7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26.xml><?xml version="1.0" encoding="utf-8"?>
<a:theme xmlns:a="http://schemas.openxmlformats.org/drawingml/2006/main" name="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2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3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2014-01-30 - sbs ppmal 16-9 (2)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30.xml><?xml version="1.0" encoding="utf-8"?>
<a:theme xmlns:a="http://schemas.openxmlformats.org/drawingml/2006/main" name="4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5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6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7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8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9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10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11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8.xml><?xml version="1.0" encoding="utf-8"?>
<a:theme xmlns:a="http://schemas.openxmlformats.org/drawingml/2006/main" name="3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39.xml><?xml version="1.0" encoding="utf-8"?>
<a:theme xmlns:a="http://schemas.openxmlformats.org/drawingml/2006/main" name="4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.xml><?xml version="1.0" encoding="utf-8"?>
<a:theme xmlns:a="http://schemas.openxmlformats.org/drawingml/2006/main" name="2_2014-01-30 - sbs ppmal 16-9 (2)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0.xml><?xml version="1.0" encoding="utf-8"?>
<a:theme xmlns:a="http://schemas.openxmlformats.org/drawingml/2006/main" name="12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1.xml><?xml version="1.0" encoding="utf-8"?>
<a:theme xmlns:a="http://schemas.openxmlformats.org/drawingml/2006/main" name="5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2.xml><?xml version="1.0" encoding="utf-8"?>
<a:theme xmlns:a="http://schemas.openxmlformats.org/drawingml/2006/main" name="1_Sør-Presentasjon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3.xml><?xml version="1.0" encoding="utf-8"?>
<a:theme xmlns:a="http://schemas.openxmlformats.org/drawingml/2006/main" name="6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4.xml><?xml version="1.0" encoding="utf-8"?>
<a:theme xmlns:a="http://schemas.openxmlformats.org/drawingml/2006/main" name="7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5.xml><?xml version="1.0" encoding="utf-8"?>
<a:theme xmlns:a="http://schemas.openxmlformats.org/drawingml/2006/main" name="13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8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7.xml><?xml version="1.0" encoding="utf-8"?>
<a:theme xmlns:a="http://schemas.openxmlformats.org/drawingml/2006/main" name="9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8.xml><?xml version="1.0" encoding="utf-8"?>
<a:theme xmlns:a="http://schemas.openxmlformats.org/drawingml/2006/main" name="1_Sør-Presentasjon blå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49.xml><?xml version="1.0" encoding="utf-8"?>
<a:theme xmlns:a="http://schemas.openxmlformats.org/drawingml/2006/main" name="10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.xml><?xml version="1.0" encoding="utf-8"?>
<a:theme xmlns:a="http://schemas.openxmlformats.org/drawingml/2006/main" name="1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0.xml><?xml version="1.0" encoding="utf-8"?>
<a:theme xmlns:a="http://schemas.openxmlformats.org/drawingml/2006/main" name="2_Sør-Presentasjon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1.xml><?xml version="1.0" encoding="utf-8"?>
<a:theme xmlns:a="http://schemas.openxmlformats.org/drawingml/2006/main" name="14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2.xml><?xml version="1.0" encoding="utf-8"?>
<a:theme xmlns:a="http://schemas.openxmlformats.org/drawingml/2006/main" name="15_Egendefinert utform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3.xml><?xml version="1.0" encoding="utf-8"?>
<a:theme xmlns:a="http://schemas.openxmlformats.org/drawingml/2006/main" name="1_Sør Presentasjon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4.xml><?xml version="1.0" encoding="utf-8"?>
<a:theme xmlns:a="http://schemas.openxmlformats.org/drawingml/2006/main" name="11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5.xml><?xml version="1.0" encoding="utf-8"?>
<a:theme xmlns:a="http://schemas.openxmlformats.org/drawingml/2006/main" name="12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6.xml><?xml version="1.0" encoding="utf-8"?>
<a:theme xmlns:a="http://schemas.openxmlformats.org/drawingml/2006/main" name="8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7.xml><?xml version="1.0" encoding="utf-8"?>
<a:theme xmlns:a="http://schemas.openxmlformats.org/drawingml/2006/main" name="13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8.xml><?xml version="1.0" encoding="utf-8"?>
<a:theme xmlns:a="http://schemas.openxmlformats.org/drawingml/2006/main" name="3_Sør-Presentasjon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59.xml><?xml version="1.0" encoding="utf-8"?>
<a:theme xmlns:a="http://schemas.openxmlformats.org/drawingml/2006/main" name="Ny ppt-mal">
  <a:themeElements>
    <a:clrScheme name="SBS">
      <a:dk1>
        <a:srgbClr val="231464"/>
      </a:dk1>
      <a:lt1>
        <a:srgbClr val="FFFFFF"/>
      </a:lt1>
      <a:dk2>
        <a:srgbClr val="231469"/>
      </a:dk2>
      <a:lt2>
        <a:srgbClr val="E7E6E6"/>
      </a:lt2>
      <a:accent1>
        <a:srgbClr val="231464"/>
      </a:accent1>
      <a:accent2>
        <a:srgbClr val="783CBE"/>
      </a:accent2>
      <a:accent3>
        <a:srgbClr val="F5AA00"/>
      </a:accent3>
      <a:accent4>
        <a:srgbClr val="F0E6B3"/>
      </a:accent4>
      <a:accent5>
        <a:srgbClr val="DCDCD7"/>
      </a:accent5>
      <a:accent6>
        <a:srgbClr val="878C8C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6.xml><?xml version="1.0" encoding="utf-8"?>
<a:theme xmlns:a="http://schemas.openxmlformats.org/drawingml/2006/main" name="21_PD modeller PM - 11022014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60.xml><?xml version="1.0" encoding="utf-8"?>
<a:theme xmlns:a="http://schemas.openxmlformats.org/drawingml/2006/main" name="15_Sør-Presentasjon hvit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6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5_PD modeller PM - 11022014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8.xml><?xml version="1.0" encoding="utf-8"?>
<a:theme xmlns:a="http://schemas.openxmlformats.org/drawingml/2006/main" name="3_2014-01-30 - sbs ppmal 16-9 (2)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ppt/theme/theme9.xml><?xml version="1.0" encoding="utf-8"?>
<a:theme xmlns:a="http://schemas.openxmlformats.org/drawingml/2006/main" name="2_Powerpointpresentasjon - mal - nye Sparebanken Sør">
  <a:themeElements>
    <a:clrScheme name="Datametrix fargeskjema WIP">
      <a:dk1>
        <a:srgbClr val="323232"/>
      </a:dk1>
      <a:lt1>
        <a:sysClr val="window" lastClr="FFFFFF"/>
      </a:lt1>
      <a:dk2>
        <a:srgbClr val="646464"/>
      </a:dk2>
      <a:lt2>
        <a:srgbClr val="EEECE1"/>
      </a:lt2>
      <a:accent1>
        <a:srgbClr val="082954"/>
      </a:accent1>
      <a:accent2>
        <a:srgbClr val="1D8EDA"/>
      </a:accent2>
      <a:accent3>
        <a:srgbClr val="C0CB1F"/>
      </a:accent3>
      <a:accent4>
        <a:srgbClr val="7F8488"/>
      </a:accent4>
      <a:accent5>
        <a:srgbClr val="434648"/>
      </a:accent5>
      <a:accent6>
        <a:srgbClr val="27B3C0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4-01-30 - sbs ppmal 16-9.potx" id="{196BAE81-D550-4812-9D04-2D9BECAEEF47}" vid="{10FE1493-E3E5-41AD-8A83-F60F47C9C44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4-01-30 - sbs ppmal 16-9 (2)</Template>
  <TotalTime>51378</TotalTime>
  <Words>861</Words>
  <Application>Microsoft Macintosh PowerPoint</Application>
  <PresentationFormat>On-screen Show (16:10)</PresentationFormat>
  <Paragraphs>140</Paragraphs>
  <Slides>17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60</vt:i4>
      </vt:variant>
      <vt:variant>
        <vt:lpstr>Slide Titles</vt:lpstr>
      </vt:variant>
      <vt:variant>
        <vt:i4>17</vt:i4>
      </vt:variant>
    </vt:vector>
  </HeadingPairs>
  <TitlesOfParts>
    <vt:vector size="82" baseType="lpstr">
      <vt:lpstr>Arial</vt:lpstr>
      <vt:lpstr>Calibri</vt:lpstr>
      <vt:lpstr>Calibri Light</vt:lpstr>
      <vt:lpstr>Lato Light</vt:lpstr>
      <vt:lpstr>Montserrat Semi</vt:lpstr>
      <vt:lpstr>2014-01-30 - sbs ppmal 16-9 (2)</vt:lpstr>
      <vt:lpstr>Powerpointpresentasjon - mal - nye Sparebanken Sør</vt:lpstr>
      <vt:lpstr>1_2014-01-30 - sbs ppmal 16-9 (2)</vt:lpstr>
      <vt:lpstr>2_2014-01-30 - sbs ppmal 16-9 (2)</vt:lpstr>
      <vt:lpstr>1_Powerpointpresentasjon - mal - nye Sparebanken Sør</vt:lpstr>
      <vt:lpstr>21_PD modeller PM - 11022014</vt:lpstr>
      <vt:lpstr>15_PD modeller PM - 11022014</vt:lpstr>
      <vt:lpstr>3_2014-01-30 - sbs ppmal 16-9 (2)</vt:lpstr>
      <vt:lpstr>2_Powerpointpresentasjon - mal - nye Sparebanken Sør</vt:lpstr>
      <vt:lpstr>19_2014-01-30 - sbs ppmal 16-9</vt:lpstr>
      <vt:lpstr>29_2014-01-30 - sbs ppmal 16-9</vt:lpstr>
      <vt:lpstr>20_2014-01-30 - sbs ppmal 16-9</vt:lpstr>
      <vt:lpstr>Sør-Presentasjon</vt:lpstr>
      <vt:lpstr>4_2014-01-30 - sbs ppmal 16-9 (2)</vt:lpstr>
      <vt:lpstr>PD modeller PM - 11022014</vt:lpstr>
      <vt:lpstr>25_PD modeller PM - 11022014</vt:lpstr>
      <vt:lpstr>3_Powerpointpresentasjon - mal - nye Sparebanken Sør</vt:lpstr>
      <vt:lpstr>4_Powerpointpresentasjon - mal - nye Sparebanken Sør</vt:lpstr>
      <vt:lpstr>5_Powerpointpresentasjon - mal - nye Sparebanken Sør</vt:lpstr>
      <vt:lpstr>Sør-Presentasjon hvit</vt:lpstr>
      <vt:lpstr>Sør-Presentasjon blå</vt:lpstr>
      <vt:lpstr>1_Sør-Presentasjon hvit</vt:lpstr>
      <vt:lpstr>6_Powerpointpresentasjon - mal - nye Sparebanken Sør</vt:lpstr>
      <vt:lpstr>2_Sør-Presentasjon hvit</vt:lpstr>
      <vt:lpstr>7_Powerpointpresentasjon - mal - nye Sparebanken Sør</vt:lpstr>
      <vt:lpstr>Egendefinert utforming</vt:lpstr>
      <vt:lpstr>1_Egendefinert utforming</vt:lpstr>
      <vt:lpstr>2_Egendefinert utforming</vt:lpstr>
      <vt:lpstr>3_Egendefinert utforming</vt:lpstr>
      <vt:lpstr>4_Egendefinert utforming</vt:lpstr>
      <vt:lpstr>5_Egendefinert utforming</vt:lpstr>
      <vt:lpstr>6_Egendefinert utforming</vt:lpstr>
      <vt:lpstr>7_Egendefinert utforming</vt:lpstr>
      <vt:lpstr>8_Egendefinert utforming</vt:lpstr>
      <vt:lpstr>9_Egendefinert utforming</vt:lpstr>
      <vt:lpstr>10_Egendefinert utforming</vt:lpstr>
      <vt:lpstr>11_Egendefinert utforming</vt:lpstr>
      <vt:lpstr>3_Sør-Presentasjon hvit</vt:lpstr>
      <vt:lpstr>4_Sør-Presentasjon hvit</vt:lpstr>
      <vt:lpstr>12_Egendefinert utforming</vt:lpstr>
      <vt:lpstr>5_Sør-Presentasjon hvit</vt:lpstr>
      <vt:lpstr>1_Sør-Presentasjon</vt:lpstr>
      <vt:lpstr>6_Sør-Presentasjon hvit</vt:lpstr>
      <vt:lpstr>7_Sør-Presentasjon hvit</vt:lpstr>
      <vt:lpstr>13_Egendefinert utforming</vt:lpstr>
      <vt:lpstr>8_Sør-Presentasjon hvit</vt:lpstr>
      <vt:lpstr>9_Sør-Presentasjon hvit</vt:lpstr>
      <vt:lpstr>1_Sør-Presentasjon blå</vt:lpstr>
      <vt:lpstr>10_Sør-Presentasjon hvit</vt:lpstr>
      <vt:lpstr>2_Sør-Presentasjon</vt:lpstr>
      <vt:lpstr>14_Egendefinert utforming</vt:lpstr>
      <vt:lpstr>15_Egendefinert utforming</vt:lpstr>
      <vt:lpstr>1_Sør Presentasjon</vt:lpstr>
      <vt:lpstr>11_Sør-Presentasjon hvit</vt:lpstr>
      <vt:lpstr>12_Sør-Presentasjon hvit</vt:lpstr>
      <vt:lpstr>8_Powerpointpresentasjon - mal - nye Sparebanken Sør</vt:lpstr>
      <vt:lpstr>13_Sør-Presentasjon hvit</vt:lpstr>
      <vt:lpstr>3_Sør-Presentasjon</vt:lpstr>
      <vt:lpstr>Ny ppt-mal</vt:lpstr>
      <vt:lpstr>15_Sør-Presentasjon hvit</vt:lpstr>
      <vt:lpstr>Sørlandet nå Status for næringslivet i regionen, bedriftenes utfordringer og bankens rolle</vt:lpstr>
      <vt:lpstr>Et økonomisk sjokk uten sidestykke </vt:lpstr>
      <vt:lpstr>PowerPoint Presentation</vt:lpstr>
      <vt:lpstr>Status lånegarantiordningen </vt:lpstr>
      <vt:lpstr>Covid-19 effekter</vt:lpstr>
      <vt:lpstr>Fall i produksjon og investeringer</vt:lpstr>
      <vt:lpstr>Utviklingen i boligmarkedet</vt:lpstr>
      <vt:lpstr>Utvikling i arbeidsmarkedet</vt:lpstr>
      <vt:lpstr>God sommer for reiselivsnæringen på Sørlandet</vt:lpstr>
      <vt:lpstr>Rekyl i varehandel</vt:lpstr>
      <vt:lpstr>Nyanser i bygg og eiendom</vt:lpstr>
      <vt:lpstr>Store utfordringer i industrien</vt:lpstr>
      <vt:lpstr>Status og økonomiske utsikter</vt:lpstr>
      <vt:lpstr>Tid for store investeringer</vt:lpstr>
      <vt:lpstr>Regionens mange muligheter…</vt:lpstr>
      <vt:lpstr>Store forretningsmuligheter i det grønne skiftet</vt:lpstr>
      <vt:lpstr>PowerPoint Presentation</vt:lpstr>
    </vt:vector>
  </TitlesOfParts>
  <Company>Sparebanken Sø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ørlandet nå</dc:title>
  <dc:creator>Geir Bergskaug</dc:creator>
  <cp:lastModifiedBy>Eivind Håverstad</cp:lastModifiedBy>
  <cp:revision>977</cp:revision>
  <cp:lastPrinted>2020-08-28T15:41:07Z</cp:lastPrinted>
  <dcterms:created xsi:type="dcterms:W3CDTF">2014-02-25T13:24:53Z</dcterms:created>
  <dcterms:modified xsi:type="dcterms:W3CDTF">2020-08-31T10:06:28Z</dcterms:modified>
</cp:coreProperties>
</file>